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65" r:id="rId2"/>
    <p:sldMasterId id="2147483677" r:id="rId3"/>
    <p:sldMasterId id="2147483689" r:id="rId4"/>
    <p:sldMasterId id="2147483742" r:id="rId5"/>
    <p:sldMasterId id="2147483754" r:id="rId6"/>
  </p:sldMasterIdLst>
  <p:notesMasterIdLst>
    <p:notesMasterId r:id="rId24"/>
  </p:notesMasterIdLst>
  <p:handoutMasterIdLst>
    <p:handoutMasterId r:id="rId25"/>
  </p:handoutMasterIdLst>
  <p:sldIdLst>
    <p:sldId id="336" r:id="rId7"/>
    <p:sldId id="393" r:id="rId8"/>
    <p:sldId id="337" r:id="rId9"/>
    <p:sldId id="394" r:id="rId10"/>
    <p:sldId id="395" r:id="rId11"/>
    <p:sldId id="396" r:id="rId12"/>
    <p:sldId id="403" r:id="rId13"/>
    <p:sldId id="404" r:id="rId14"/>
    <p:sldId id="405" r:id="rId15"/>
    <p:sldId id="342" r:id="rId16"/>
    <p:sldId id="347" r:id="rId17"/>
    <p:sldId id="346" r:id="rId18"/>
    <p:sldId id="377" r:id="rId19"/>
    <p:sldId id="380" r:id="rId20"/>
    <p:sldId id="381" r:id="rId21"/>
    <p:sldId id="382" r:id="rId22"/>
    <p:sldId id="316" r:id="rId23"/>
  </p:sldIdLst>
  <p:sldSz cx="9144000" cy="6858000" type="screen4x3"/>
  <p:notesSz cx="6669088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F90F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84" autoAdjust="0"/>
    <p:restoredTop sz="87706" autoAdjust="0"/>
  </p:normalViewPr>
  <p:slideViewPr>
    <p:cSldViewPr snapToGrid="0" snapToObjects="1">
      <p:cViewPr varScale="1">
        <p:scale>
          <a:sx n="75" d="100"/>
          <a:sy n="75" d="100"/>
        </p:scale>
        <p:origin x="43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1996"/>
    </p:cViewPr>
  </p:sorterViewPr>
  <p:notesViewPr>
    <p:cSldViewPr snapToGrid="0" snapToObjects="1">
      <p:cViewPr varScale="1">
        <p:scale>
          <a:sx n="65" d="100"/>
          <a:sy n="65" d="100"/>
        </p:scale>
        <p:origin x="-828" y="-120"/>
      </p:cViewPr>
      <p:guideLst>
        <p:guide orient="horz" pos="2880"/>
        <p:guide pos="2160"/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407B42-87DD-44B9-84EB-E4BFD3B3B113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231ECBF-8837-4B00-BB06-5254013B7E98}">
      <dgm:prSet phldrT="[Text]"/>
      <dgm:spPr>
        <a:solidFill>
          <a:schemeClr val="accent3"/>
        </a:solidFill>
      </dgm:spPr>
      <dgm:t>
        <a:bodyPr/>
        <a:lstStyle/>
        <a:p>
          <a:r>
            <a:rPr lang="bg-BG" dirty="0" smtClean="0"/>
            <a:t>1. „</a:t>
          </a:r>
          <a:r>
            <a:rPr lang="ru-RU" dirty="0" err="1" smtClean="0"/>
            <a:t>Подобряване</a:t>
          </a:r>
          <a:r>
            <a:rPr lang="ru-RU" dirty="0" smtClean="0"/>
            <a:t> на </a:t>
          </a:r>
          <a:r>
            <a:rPr lang="ru-RU" dirty="0" err="1" smtClean="0"/>
            <a:t>производствения</a:t>
          </a:r>
          <a:r>
            <a:rPr lang="ru-RU" dirty="0" smtClean="0"/>
            <a:t> </a:t>
          </a:r>
          <a:r>
            <a:rPr lang="ru-RU" dirty="0" err="1" smtClean="0"/>
            <a:t>капацитет</a:t>
          </a:r>
          <a:r>
            <a:rPr lang="ru-RU" dirty="0" smtClean="0"/>
            <a:t> в МСП»</a:t>
          </a:r>
          <a:endParaRPr lang="bg-BG" dirty="0" smtClean="0"/>
        </a:p>
        <a:p>
          <a:r>
            <a:rPr lang="bg-BG" dirty="0" smtClean="0"/>
            <a:t>(май 2015)</a:t>
          </a:r>
          <a:endParaRPr lang="en-US" dirty="0"/>
        </a:p>
      </dgm:t>
    </dgm:pt>
    <dgm:pt modelId="{376B122C-3824-44AD-99C3-EF10F5FFBB87}" type="parTrans" cxnId="{EE521C93-FAD8-48FB-A5B4-28B708EC8F83}">
      <dgm:prSet/>
      <dgm:spPr/>
      <dgm:t>
        <a:bodyPr/>
        <a:lstStyle/>
        <a:p>
          <a:endParaRPr lang="en-US"/>
        </a:p>
      </dgm:t>
    </dgm:pt>
    <dgm:pt modelId="{D8100E57-1AA8-447D-9477-3138A1601615}" type="sibTrans" cxnId="{EE521C93-FAD8-48FB-A5B4-28B708EC8F83}">
      <dgm:prSet/>
      <dgm:spPr/>
      <dgm:t>
        <a:bodyPr/>
        <a:lstStyle/>
        <a:p>
          <a:endParaRPr lang="en-US"/>
        </a:p>
      </dgm:t>
    </dgm:pt>
    <dgm:pt modelId="{A0561233-0056-40A2-B8F9-8DC0D509FF80}">
      <dgm:prSet phldrT="[Text]"/>
      <dgm:spPr>
        <a:solidFill>
          <a:schemeClr val="accent1"/>
        </a:solidFill>
      </dgm:spPr>
      <dgm:t>
        <a:bodyPr/>
        <a:lstStyle/>
        <a:p>
          <a:r>
            <a:rPr lang="bg-BG" dirty="0" smtClean="0"/>
            <a:t>2. „</a:t>
          </a:r>
          <a:r>
            <a:rPr lang="ru-RU" dirty="0" err="1" smtClean="0"/>
            <a:t>Подкрепа</a:t>
          </a:r>
          <a:r>
            <a:rPr lang="ru-RU" dirty="0" smtClean="0"/>
            <a:t> за </a:t>
          </a:r>
          <a:r>
            <a:rPr lang="ru-RU" dirty="0" err="1" smtClean="0"/>
            <a:t>внедряване</a:t>
          </a:r>
          <a:r>
            <a:rPr lang="ru-RU" dirty="0" smtClean="0"/>
            <a:t> на </a:t>
          </a:r>
          <a:r>
            <a:rPr lang="ru-RU" dirty="0" err="1" smtClean="0"/>
            <a:t>иновации</a:t>
          </a:r>
          <a:r>
            <a:rPr lang="ru-RU" dirty="0" smtClean="0"/>
            <a:t> в </a:t>
          </a:r>
          <a:r>
            <a:rPr lang="ru-RU" dirty="0" err="1" smtClean="0"/>
            <a:t>предприятията</a:t>
          </a:r>
          <a:r>
            <a:rPr lang="ru-RU" dirty="0" smtClean="0"/>
            <a:t>»</a:t>
          </a:r>
          <a:endParaRPr lang="bg-BG" dirty="0" smtClean="0"/>
        </a:p>
        <a:p>
          <a:r>
            <a:rPr lang="bg-BG" dirty="0" smtClean="0"/>
            <a:t> (декември 2015)</a:t>
          </a:r>
          <a:endParaRPr lang="en-US" dirty="0"/>
        </a:p>
      </dgm:t>
    </dgm:pt>
    <dgm:pt modelId="{69D502FB-5226-4F1F-BC3C-A5D5AE2B2087}" type="parTrans" cxnId="{A90AE1C9-A709-4585-9398-F94E466C8204}">
      <dgm:prSet/>
      <dgm:spPr/>
      <dgm:t>
        <a:bodyPr/>
        <a:lstStyle/>
        <a:p>
          <a:endParaRPr lang="en-US"/>
        </a:p>
      </dgm:t>
    </dgm:pt>
    <dgm:pt modelId="{9F372E7C-E733-4542-86E9-5149CC0EDA95}" type="sibTrans" cxnId="{A90AE1C9-A709-4585-9398-F94E466C8204}">
      <dgm:prSet/>
      <dgm:spPr/>
      <dgm:t>
        <a:bodyPr/>
        <a:lstStyle/>
        <a:p>
          <a:endParaRPr lang="en-US"/>
        </a:p>
      </dgm:t>
    </dgm:pt>
    <dgm:pt modelId="{89BC97F9-8ADB-4181-9C46-01EF776A86AA}">
      <dgm:prSet phldrT="[Text]"/>
      <dgm:spPr>
        <a:solidFill>
          <a:schemeClr val="accent1"/>
        </a:solidFill>
      </dgm:spPr>
      <dgm:t>
        <a:bodyPr/>
        <a:lstStyle/>
        <a:p>
          <a:r>
            <a:rPr lang="bg-BG" dirty="0" smtClean="0"/>
            <a:t>3. </a:t>
          </a:r>
          <a:r>
            <a:rPr lang="ru-RU" dirty="0" smtClean="0"/>
            <a:t>„</a:t>
          </a:r>
          <a:r>
            <a:rPr lang="ru-RU" dirty="0" err="1" smtClean="0"/>
            <a:t>Подкрепа</a:t>
          </a:r>
          <a:r>
            <a:rPr lang="ru-RU" dirty="0" smtClean="0"/>
            <a:t> за </a:t>
          </a:r>
          <a:r>
            <a:rPr lang="ru-RU" dirty="0" err="1" smtClean="0"/>
            <a:t>разработване</a:t>
          </a:r>
          <a:r>
            <a:rPr lang="ru-RU" dirty="0" smtClean="0"/>
            <a:t> на </a:t>
          </a:r>
          <a:r>
            <a:rPr lang="ru-RU" dirty="0" err="1" smtClean="0"/>
            <a:t>иновации</a:t>
          </a:r>
          <a:r>
            <a:rPr lang="ru-RU" dirty="0" smtClean="0"/>
            <a:t> от </a:t>
          </a:r>
          <a:r>
            <a:rPr lang="ru-RU" dirty="0" err="1" smtClean="0"/>
            <a:t>стартиращи</a:t>
          </a:r>
          <a:r>
            <a:rPr lang="ru-RU" dirty="0" smtClean="0"/>
            <a:t> предприятия“</a:t>
          </a:r>
          <a:endParaRPr lang="bg-BG" dirty="0" smtClean="0"/>
        </a:p>
        <a:p>
          <a:r>
            <a:rPr lang="bg-BG" dirty="0" smtClean="0"/>
            <a:t>(февруари</a:t>
          </a:r>
          <a:r>
            <a:rPr lang="en-US" dirty="0" smtClean="0"/>
            <a:t> </a:t>
          </a:r>
          <a:r>
            <a:rPr lang="bg-BG" dirty="0" smtClean="0"/>
            <a:t>2016)</a:t>
          </a:r>
          <a:endParaRPr lang="en-US" dirty="0"/>
        </a:p>
      </dgm:t>
    </dgm:pt>
    <dgm:pt modelId="{7E5BDE66-3B5A-4249-8846-B303B883C904}" type="parTrans" cxnId="{0A94191F-C640-4CDE-ACD7-806A062644F0}">
      <dgm:prSet/>
      <dgm:spPr/>
      <dgm:t>
        <a:bodyPr/>
        <a:lstStyle/>
        <a:p>
          <a:endParaRPr lang="en-US"/>
        </a:p>
      </dgm:t>
    </dgm:pt>
    <dgm:pt modelId="{7A80D9DC-9426-496C-B364-F3DFDBD47E89}" type="sibTrans" cxnId="{0A94191F-C640-4CDE-ACD7-806A062644F0}">
      <dgm:prSet/>
      <dgm:spPr/>
      <dgm:t>
        <a:bodyPr/>
        <a:lstStyle/>
        <a:p>
          <a:endParaRPr lang="en-US"/>
        </a:p>
      </dgm:t>
    </dgm:pt>
    <dgm:pt modelId="{669CA18B-4105-4432-A232-B79FA55E0331}">
      <dgm:prSet phldrT="[Text]"/>
      <dgm:spPr>
        <a:solidFill>
          <a:schemeClr val="accent5"/>
        </a:solidFill>
      </dgm:spPr>
      <dgm:t>
        <a:bodyPr/>
        <a:lstStyle/>
        <a:p>
          <a:r>
            <a:rPr lang="bg-BG" dirty="0" smtClean="0"/>
            <a:t>4. „Енергийна ефективност за МСП“</a:t>
          </a:r>
        </a:p>
        <a:p>
          <a:r>
            <a:rPr lang="bg-BG" dirty="0" smtClean="0"/>
            <a:t>(май 2016)</a:t>
          </a:r>
          <a:endParaRPr lang="en-US" dirty="0"/>
        </a:p>
      </dgm:t>
    </dgm:pt>
    <dgm:pt modelId="{AE9F56A3-049F-4E55-AA17-0EFB7DD90D2D}" type="parTrans" cxnId="{014B1BBD-825E-4DAC-88A2-DA15372E236A}">
      <dgm:prSet/>
      <dgm:spPr/>
      <dgm:t>
        <a:bodyPr/>
        <a:lstStyle/>
        <a:p>
          <a:endParaRPr lang="en-US"/>
        </a:p>
      </dgm:t>
    </dgm:pt>
    <dgm:pt modelId="{3E1AC927-3D25-4BD3-8493-F23B7E3F7BC6}" type="sibTrans" cxnId="{014B1BBD-825E-4DAC-88A2-DA15372E236A}">
      <dgm:prSet/>
      <dgm:spPr/>
      <dgm:t>
        <a:bodyPr/>
        <a:lstStyle/>
        <a:p>
          <a:endParaRPr lang="en-US"/>
        </a:p>
      </dgm:t>
    </dgm:pt>
    <dgm:pt modelId="{93D83B12-8832-485E-B0D6-C797C6F8C1CC}">
      <dgm:prSet phldrT="[Text]"/>
      <dgm:spPr>
        <a:solidFill>
          <a:schemeClr val="accent3"/>
        </a:solidFill>
      </dgm:spPr>
      <dgm:t>
        <a:bodyPr/>
        <a:lstStyle/>
        <a:p>
          <a:r>
            <a:rPr lang="bg-BG" dirty="0" smtClean="0"/>
            <a:t>5. „</a:t>
          </a:r>
          <a:r>
            <a:rPr lang="ru-RU" dirty="0" smtClean="0"/>
            <a:t>Развитие на </a:t>
          </a:r>
          <a:r>
            <a:rPr lang="ru-RU" dirty="0" err="1" smtClean="0"/>
            <a:t>управленския</a:t>
          </a:r>
          <a:r>
            <a:rPr lang="ru-RU" dirty="0" smtClean="0"/>
            <a:t> </a:t>
          </a:r>
          <a:r>
            <a:rPr lang="ru-RU" dirty="0" err="1" smtClean="0"/>
            <a:t>капацитет</a:t>
          </a:r>
          <a:r>
            <a:rPr lang="ru-RU" dirty="0" smtClean="0"/>
            <a:t> и </a:t>
          </a:r>
          <a:r>
            <a:rPr lang="ru-RU" dirty="0" err="1" smtClean="0"/>
            <a:t>растеж</a:t>
          </a:r>
          <a:r>
            <a:rPr lang="ru-RU" dirty="0" smtClean="0"/>
            <a:t> на МСП»</a:t>
          </a:r>
          <a:endParaRPr lang="bg-BG" dirty="0" smtClean="0"/>
        </a:p>
        <a:p>
          <a:r>
            <a:rPr lang="bg-BG" dirty="0" smtClean="0"/>
            <a:t>(юни</a:t>
          </a:r>
          <a:r>
            <a:rPr lang="en-US" dirty="0" smtClean="0"/>
            <a:t> </a:t>
          </a:r>
          <a:r>
            <a:rPr lang="bg-BG" dirty="0" smtClean="0"/>
            <a:t>2016)</a:t>
          </a:r>
          <a:endParaRPr lang="en-US" dirty="0"/>
        </a:p>
      </dgm:t>
    </dgm:pt>
    <dgm:pt modelId="{72B6DB6B-143D-47B6-9D7C-E89D8E89C42D}" type="parTrans" cxnId="{DC1AC1E7-C9D7-487F-A557-68BBDE13AA40}">
      <dgm:prSet/>
      <dgm:spPr/>
      <dgm:t>
        <a:bodyPr/>
        <a:lstStyle/>
        <a:p>
          <a:endParaRPr lang="en-US"/>
        </a:p>
      </dgm:t>
    </dgm:pt>
    <dgm:pt modelId="{F20840DC-5499-45EF-8A1D-031649ED0180}" type="sibTrans" cxnId="{DC1AC1E7-C9D7-487F-A557-68BBDE13AA40}">
      <dgm:prSet/>
      <dgm:spPr/>
      <dgm:t>
        <a:bodyPr/>
        <a:lstStyle/>
        <a:p>
          <a:endParaRPr lang="en-US"/>
        </a:p>
      </dgm:t>
    </dgm:pt>
    <dgm:pt modelId="{F5DFCFFC-67B7-4E84-838E-89216FFE149E}">
      <dgm:prSet phldrT="[Text]"/>
      <dgm:spPr>
        <a:solidFill>
          <a:schemeClr val="accent3"/>
        </a:solidFill>
      </dgm:spPr>
      <dgm:t>
        <a:bodyPr/>
        <a:lstStyle/>
        <a:p>
          <a:r>
            <a:rPr lang="bg-BG" dirty="0" smtClean="0"/>
            <a:t>6. „Развитие на клъстери в България“</a:t>
          </a:r>
        </a:p>
        <a:p>
          <a:r>
            <a:rPr lang="bg-BG" dirty="0" smtClean="0"/>
            <a:t>(декември 20</a:t>
          </a:r>
          <a:r>
            <a:rPr lang="en-US" dirty="0" smtClean="0"/>
            <a:t>16</a:t>
          </a:r>
          <a:r>
            <a:rPr lang="bg-BG" dirty="0" smtClean="0"/>
            <a:t>)</a:t>
          </a:r>
        </a:p>
      </dgm:t>
    </dgm:pt>
    <dgm:pt modelId="{DC963B28-D7AD-444A-B6C6-2F6EF2009C05}" type="parTrans" cxnId="{22FC3293-A5FD-4F07-8D1B-DB5CF0A27681}">
      <dgm:prSet/>
      <dgm:spPr/>
      <dgm:t>
        <a:bodyPr/>
        <a:lstStyle/>
        <a:p>
          <a:endParaRPr lang="en-US"/>
        </a:p>
      </dgm:t>
    </dgm:pt>
    <dgm:pt modelId="{52ACEB7B-C8AA-46BB-B202-78931E83922F}" type="sibTrans" cxnId="{22FC3293-A5FD-4F07-8D1B-DB5CF0A27681}">
      <dgm:prSet/>
      <dgm:spPr/>
      <dgm:t>
        <a:bodyPr/>
        <a:lstStyle/>
        <a:p>
          <a:endParaRPr lang="en-US"/>
        </a:p>
      </dgm:t>
    </dgm:pt>
    <dgm:pt modelId="{557FF012-D432-4AD6-B819-57B77579C9D2}">
      <dgm:prSet phldrT="[Text]"/>
      <dgm:spPr>
        <a:solidFill>
          <a:schemeClr val="accent5"/>
        </a:solidFill>
      </dgm:spPr>
      <dgm:t>
        <a:bodyPr/>
        <a:lstStyle/>
        <a:p>
          <a:r>
            <a:rPr lang="bg-BG" dirty="0" smtClean="0"/>
            <a:t>7.“Енергийна ефективност в големи предприятия“</a:t>
          </a:r>
        </a:p>
        <a:p>
          <a:r>
            <a:rPr lang="bg-BG" dirty="0" smtClean="0"/>
            <a:t>(януари</a:t>
          </a:r>
          <a:r>
            <a:rPr lang="en-US" dirty="0" smtClean="0"/>
            <a:t> 2017</a:t>
          </a:r>
          <a:r>
            <a:rPr lang="bg-BG" dirty="0" smtClean="0"/>
            <a:t>)</a:t>
          </a:r>
          <a:endParaRPr lang="en-US" dirty="0"/>
        </a:p>
      </dgm:t>
    </dgm:pt>
    <dgm:pt modelId="{BC11B9E5-4131-4048-8B59-2D1265B9C766}" type="parTrans" cxnId="{0BB944C7-F23F-45C7-A01E-D432DDFCF27C}">
      <dgm:prSet/>
      <dgm:spPr/>
      <dgm:t>
        <a:bodyPr/>
        <a:lstStyle/>
        <a:p>
          <a:endParaRPr lang="en-US"/>
        </a:p>
      </dgm:t>
    </dgm:pt>
    <dgm:pt modelId="{0C6F24E4-E698-4AA6-9174-7C26B5A30E92}" type="sibTrans" cxnId="{0BB944C7-F23F-45C7-A01E-D432DDFCF27C}">
      <dgm:prSet/>
      <dgm:spPr/>
      <dgm:t>
        <a:bodyPr/>
        <a:lstStyle/>
        <a:p>
          <a:endParaRPr lang="en-US"/>
        </a:p>
      </dgm:t>
    </dgm:pt>
    <dgm:pt modelId="{1658881B-6398-4A2B-BB92-32B14BA88A9D}">
      <dgm:prSet phldrT="[Text]"/>
      <dgm:spPr>
        <a:solidFill>
          <a:schemeClr val="accent1"/>
        </a:solidFill>
      </dgm:spPr>
      <dgm:t>
        <a:bodyPr/>
        <a:lstStyle/>
        <a:p>
          <a:r>
            <a:rPr lang="bg-BG" dirty="0" smtClean="0"/>
            <a:t>8. „Развитие на продуктови и производствени иновации“</a:t>
          </a:r>
        </a:p>
        <a:p>
          <a:r>
            <a:rPr lang="bg-BG" dirty="0" smtClean="0"/>
            <a:t>(юни 2017)</a:t>
          </a:r>
          <a:endParaRPr lang="en-US" dirty="0"/>
        </a:p>
      </dgm:t>
    </dgm:pt>
    <dgm:pt modelId="{4FB3F8AC-56BB-4DC6-8F00-FDF7D491E6BF}" type="parTrans" cxnId="{15632B5F-C420-4719-A4B0-50FD8C86C997}">
      <dgm:prSet/>
      <dgm:spPr/>
      <dgm:t>
        <a:bodyPr/>
        <a:lstStyle/>
        <a:p>
          <a:endParaRPr lang="en-US"/>
        </a:p>
      </dgm:t>
    </dgm:pt>
    <dgm:pt modelId="{322B4DE1-CB8C-4B21-BFD1-5908E6C106A8}" type="sibTrans" cxnId="{15632B5F-C420-4719-A4B0-50FD8C86C997}">
      <dgm:prSet/>
      <dgm:spPr/>
      <dgm:t>
        <a:bodyPr/>
        <a:lstStyle/>
        <a:p>
          <a:endParaRPr lang="en-US"/>
        </a:p>
      </dgm:t>
    </dgm:pt>
    <dgm:pt modelId="{B40E7770-2A4C-46B2-B63B-A1229B0647DB}">
      <dgm:prSet phldrT="[Text]"/>
      <dgm:spPr>
        <a:solidFill>
          <a:schemeClr val="accent5"/>
        </a:solidFill>
      </dgm:spPr>
      <dgm:t>
        <a:bodyPr/>
        <a:lstStyle/>
        <a:p>
          <a:r>
            <a:rPr lang="bg-BG" dirty="0" smtClean="0"/>
            <a:t>9. „</a:t>
          </a:r>
          <a:r>
            <a:rPr lang="ru-RU" dirty="0" err="1" smtClean="0"/>
            <a:t>Подкрепа</a:t>
          </a:r>
          <a:r>
            <a:rPr lang="ru-RU" dirty="0" smtClean="0"/>
            <a:t> за </a:t>
          </a:r>
          <a:r>
            <a:rPr lang="ru-RU" dirty="0" err="1" smtClean="0"/>
            <a:t>пилотни</a:t>
          </a:r>
          <a:r>
            <a:rPr lang="ru-RU" dirty="0" smtClean="0"/>
            <a:t> и </a:t>
          </a:r>
          <a:r>
            <a:rPr lang="ru-RU" dirty="0" err="1" smtClean="0"/>
            <a:t>демонстрационни</a:t>
          </a:r>
          <a:r>
            <a:rPr lang="ru-RU" dirty="0" smtClean="0"/>
            <a:t> </a:t>
          </a:r>
          <a:r>
            <a:rPr lang="ru-RU" dirty="0" err="1" smtClean="0"/>
            <a:t>инициативи</a:t>
          </a:r>
          <a:r>
            <a:rPr lang="ru-RU" dirty="0" smtClean="0"/>
            <a:t> за </a:t>
          </a:r>
          <a:r>
            <a:rPr lang="ru-RU" dirty="0" err="1" smtClean="0"/>
            <a:t>ефективно</a:t>
          </a:r>
          <a:r>
            <a:rPr lang="ru-RU" dirty="0" smtClean="0"/>
            <a:t> </a:t>
          </a:r>
          <a:r>
            <a:rPr lang="ru-RU" dirty="0" err="1" smtClean="0"/>
            <a:t>използване</a:t>
          </a:r>
          <a:r>
            <a:rPr lang="ru-RU" dirty="0" smtClean="0"/>
            <a:t> на </a:t>
          </a:r>
          <a:r>
            <a:rPr lang="ru-RU" dirty="0" err="1" smtClean="0"/>
            <a:t>ресурсите</a:t>
          </a:r>
          <a:r>
            <a:rPr lang="ru-RU" dirty="0" smtClean="0"/>
            <a:t>»</a:t>
          </a:r>
          <a:endParaRPr lang="bg-BG" dirty="0" smtClean="0"/>
        </a:p>
        <a:p>
          <a:r>
            <a:rPr lang="bg-BG" dirty="0" smtClean="0"/>
            <a:t>(ноември 2017)</a:t>
          </a:r>
          <a:endParaRPr lang="en-US" dirty="0"/>
        </a:p>
      </dgm:t>
    </dgm:pt>
    <dgm:pt modelId="{30E2AEAF-541E-4779-8659-F00CA67ECA86}" type="parTrans" cxnId="{DEAA6A31-62FB-4B9F-844B-8A876FF7A3D7}">
      <dgm:prSet/>
      <dgm:spPr/>
      <dgm:t>
        <a:bodyPr/>
        <a:lstStyle/>
        <a:p>
          <a:endParaRPr lang="en-US"/>
        </a:p>
      </dgm:t>
    </dgm:pt>
    <dgm:pt modelId="{C613F53E-804A-48E3-B7E0-A18BD8728597}" type="sibTrans" cxnId="{DEAA6A31-62FB-4B9F-844B-8A876FF7A3D7}">
      <dgm:prSet/>
      <dgm:spPr/>
      <dgm:t>
        <a:bodyPr/>
        <a:lstStyle/>
        <a:p>
          <a:endParaRPr lang="en-US"/>
        </a:p>
      </dgm:t>
    </dgm:pt>
    <dgm:pt modelId="{3A6BD867-B984-45B7-86C1-E534C853003A}">
      <dgm:prSet/>
      <dgm:spPr>
        <a:solidFill>
          <a:schemeClr val="accent3"/>
        </a:solidFill>
      </dgm:spPr>
      <dgm:t>
        <a:bodyPr/>
        <a:lstStyle/>
        <a:p>
          <a:r>
            <a:rPr lang="en-US" dirty="0" smtClean="0"/>
            <a:t>10. </a:t>
          </a:r>
          <a:r>
            <a:rPr lang="bg-BG" dirty="0" smtClean="0"/>
            <a:t>„Насърчаване на предприемачеството“</a:t>
          </a:r>
          <a:endParaRPr lang="en-US" dirty="0" smtClean="0"/>
        </a:p>
        <a:p>
          <a:r>
            <a:rPr lang="en-US" dirty="0" smtClean="0"/>
            <a:t>(</a:t>
          </a:r>
          <a:r>
            <a:rPr lang="bg-BG" dirty="0" smtClean="0"/>
            <a:t>юни</a:t>
          </a:r>
          <a:r>
            <a:rPr lang="en-US" dirty="0" smtClean="0"/>
            <a:t> 2018) </a:t>
          </a:r>
          <a:endParaRPr lang="en-US" dirty="0"/>
        </a:p>
      </dgm:t>
    </dgm:pt>
    <dgm:pt modelId="{F9C91021-31F9-4BEB-AAA9-34EC76E58577}" type="parTrans" cxnId="{EECA3AAD-A4DC-42F8-9A5E-A9A6C902D2D2}">
      <dgm:prSet/>
      <dgm:spPr/>
      <dgm:t>
        <a:bodyPr/>
        <a:lstStyle/>
        <a:p>
          <a:endParaRPr lang="en-US"/>
        </a:p>
      </dgm:t>
    </dgm:pt>
    <dgm:pt modelId="{F696C857-CAD3-4903-B606-CE4773357CF1}" type="sibTrans" cxnId="{EECA3AAD-A4DC-42F8-9A5E-A9A6C902D2D2}">
      <dgm:prSet/>
      <dgm:spPr/>
      <dgm:t>
        <a:bodyPr/>
        <a:lstStyle/>
        <a:p>
          <a:endParaRPr lang="en-US"/>
        </a:p>
      </dgm:t>
    </dgm:pt>
    <dgm:pt modelId="{4F9F0491-1FBA-41D9-99C5-644752F46886}" type="pres">
      <dgm:prSet presAssocID="{C5407B42-87DD-44B9-84EB-E4BFD3B3B11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3A417EC-5B45-415A-9758-54B5F72B8059}" type="pres">
      <dgm:prSet presAssocID="{E231ECBF-8837-4B00-BB06-5254013B7E98}" presName="node" presStyleLbl="node1" presStyleIdx="0" presStyleCnt="10" custLinFactNeighborX="6404" custLinFactNeighborY="10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DB47F2-778D-4FA2-B45A-E7F99AE1F20D}" type="pres">
      <dgm:prSet presAssocID="{D8100E57-1AA8-447D-9477-3138A1601615}" presName="sibTrans" presStyleLbl="sibTrans2D1" presStyleIdx="0" presStyleCnt="9" custLinFactNeighborX="18125" custLinFactNeighborY="3822"/>
      <dgm:spPr/>
      <dgm:t>
        <a:bodyPr/>
        <a:lstStyle/>
        <a:p>
          <a:endParaRPr lang="en-US"/>
        </a:p>
      </dgm:t>
    </dgm:pt>
    <dgm:pt modelId="{D3917B77-1B22-44CB-8147-31112382C082}" type="pres">
      <dgm:prSet presAssocID="{D8100E57-1AA8-447D-9477-3138A1601615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83465D6F-2BBC-41FA-92E4-CF92AFD6B79A}" type="pres">
      <dgm:prSet presAssocID="{A0561233-0056-40A2-B8F9-8DC0D509FF80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4F9DB4-72A3-46E6-B03B-FFDF0D2E0223}" type="pres">
      <dgm:prSet presAssocID="{9F372E7C-E733-4542-86E9-5149CC0EDA95}" presName="sibTrans" presStyleLbl="sibTrans2D1" presStyleIdx="1" presStyleCnt="9"/>
      <dgm:spPr/>
      <dgm:t>
        <a:bodyPr/>
        <a:lstStyle/>
        <a:p>
          <a:endParaRPr lang="en-US"/>
        </a:p>
      </dgm:t>
    </dgm:pt>
    <dgm:pt modelId="{95B51C84-4522-41F1-86EE-85380313C34D}" type="pres">
      <dgm:prSet presAssocID="{9F372E7C-E733-4542-86E9-5149CC0EDA95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0BCE2F2E-4445-4D3C-8139-F9576C027698}" type="pres">
      <dgm:prSet presAssocID="{89BC97F9-8ADB-4181-9C46-01EF776A86AA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0D18CD-2F31-4B08-B98F-AD1391FDD153}" type="pres">
      <dgm:prSet presAssocID="{7A80D9DC-9426-496C-B364-F3DFDBD47E89}" presName="sibTrans" presStyleLbl="sibTrans2D1" presStyleIdx="2" presStyleCnt="9"/>
      <dgm:spPr/>
      <dgm:t>
        <a:bodyPr/>
        <a:lstStyle/>
        <a:p>
          <a:endParaRPr lang="en-US"/>
        </a:p>
      </dgm:t>
    </dgm:pt>
    <dgm:pt modelId="{A68EE179-D7DF-414D-9AC2-CFEEEC2A3AA7}" type="pres">
      <dgm:prSet presAssocID="{7A80D9DC-9426-496C-B364-F3DFDBD47E89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78B4E1D2-B73D-4626-AFC5-A422A3D74E13}" type="pres">
      <dgm:prSet presAssocID="{669CA18B-4105-4432-A232-B79FA55E0331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1169CC-981B-4B50-9EBF-8EDDC644E752}" type="pres">
      <dgm:prSet presAssocID="{3E1AC927-3D25-4BD3-8493-F23B7E3F7BC6}" presName="sibTrans" presStyleLbl="sibTrans2D1" presStyleIdx="3" presStyleCnt="9"/>
      <dgm:spPr/>
      <dgm:t>
        <a:bodyPr/>
        <a:lstStyle/>
        <a:p>
          <a:endParaRPr lang="en-US"/>
        </a:p>
      </dgm:t>
    </dgm:pt>
    <dgm:pt modelId="{C516D099-4DDD-48B5-95BC-2696B30811E2}" type="pres">
      <dgm:prSet presAssocID="{3E1AC927-3D25-4BD3-8493-F23B7E3F7BC6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F2A03514-5FF8-4D87-97C5-3485333D6C53}" type="pres">
      <dgm:prSet presAssocID="{93D83B12-8832-485E-B0D6-C797C6F8C1CC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EFD3FA-50D7-4E90-9D6F-09A9CA1EBBC5}" type="pres">
      <dgm:prSet presAssocID="{F20840DC-5499-45EF-8A1D-031649ED0180}" presName="sibTrans" presStyleLbl="sibTrans2D1" presStyleIdx="4" presStyleCnt="9"/>
      <dgm:spPr/>
      <dgm:t>
        <a:bodyPr/>
        <a:lstStyle/>
        <a:p>
          <a:endParaRPr lang="en-US"/>
        </a:p>
      </dgm:t>
    </dgm:pt>
    <dgm:pt modelId="{B8DDC0AC-23F4-4DD3-A038-57A54FE7DC98}" type="pres">
      <dgm:prSet presAssocID="{F20840DC-5499-45EF-8A1D-031649ED0180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D75F535F-1E29-479D-BF17-9F4776DBB37C}" type="pres">
      <dgm:prSet presAssocID="{F5DFCFFC-67B7-4E84-838E-89216FFE149E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430484-58A9-4CB2-8B56-65FE7283558A}" type="pres">
      <dgm:prSet presAssocID="{52ACEB7B-C8AA-46BB-B202-78931E83922F}" presName="sibTrans" presStyleLbl="sibTrans2D1" presStyleIdx="5" presStyleCnt="9"/>
      <dgm:spPr/>
      <dgm:t>
        <a:bodyPr/>
        <a:lstStyle/>
        <a:p>
          <a:endParaRPr lang="en-US"/>
        </a:p>
      </dgm:t>
    </dgm:pt>
    <dgm:pt modelId="{3A1D22C7-D220-4DE8-B320-04A43EB86998}" type="pres">
      <dgm:prSet presAssocID="{52ACEB7B-C8AA-46BB-B202-78931E83922F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EED01041-8413-4B25-9912-794AD79005D0}" type="pres">
      <dgm:prSet presAssocID="{557FF012-D432-4AD6-B819-57B77579C9D2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0E7B27-83BE-4FD4-B7A7-9C39FD758564}" type="pres">
      <dgm:prSet presAssocID="{0C6F24E4-E698-4AA6-9174-7C26B5A30E92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FF7173F-E822-4E15-900D-ADDDE684EC94}" type="pres">
      <dgm:prSet presAssocID="{0C6F24E4-E698-4AA6-9174-7C26B5A30E92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9253B189-1DB9-440A-8588-E2D1A1A139E3}" type="pres">
      <dgm:prSet presAssocID="{1658881B-6398-4A2B-BB92-32B14BA88A9D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664583-1C65-4092-8B5D-68AFEF6CDE6E}" type="pres">
      <dgm:prSet presAssocID="{322B4DE1-CB8C-4B21-BFD1-5908E6C106A8}" presName="sibTrans" presStyleLbl="sibTrans2D1" presStyleIdx="7" presStyleCnt="9"/>
      <dgm:spPr/>
      <dgm:t>
        <a:bodyPr/>
        <a:lstStyle/>
        <a:p>
          <a:endParaRPr lang="en-US"/>
        </a:p>
      </dgm:t>
    </dgm:pt>
    <dgm:pt modelId="{53FE26FF-8937-4F6B-83B0-9AE6B2B63E6C}" type="pres">
      <dgm:prSet presAssocID="{322B4DE1-CB8C-4B21-BFD1-5908E6C106A8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DE3A1A29-4735-46DB-92D5-A5722CE33D72}" type="pres">
      <dgm:prSet presAssocID="{B40E7770-2A4C-46B2-B63B-A1229B0647DB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75A743-45DC-47AA-8A95-25DAC725EE2B}" type="pres">
      <dgm:prSet presAssocID="{C613F53E-804A-48E3-B7E0-A18BD8728597}" presName="sibTrans" presStyleLbl="sibTrans2D1" presStyleIdx="8" presStyleCnt="9"/>
      <dgm:spPr/>
      <dgm:t>
        <a:bodyPr/>
        <a:lstStyle/>
        <a:p>
          <a:endParaRPr lang="en-US"/>
        </a:p>
      </dgm:t>
    </dgm:pt>
    <dgm:pt modelId="{FEE7C7A1-EADF-4384-B8B7-94B8DCB0A88B}" type="pres">
      <dgm:prSet presAssocID="{C613F53E-804A-48E3-B7E0-A18BD8728597}" presName="connectorText" presStyleLbl="sibTrans2D1" presStyleIdx="8" presStyleCnt="9"/>
      <dgm:spPr/>
      <dgm:t>
        <a:bodyPr/>
        <a:lstStyle/>
        <a:p>
          <a:endParaRPr lang="en-US"/>
        </a:p>
      </dgm:t>
    </dgm:pt>
    <dgm:pt modelId="{0718D424-7109-4D32-8439-7E95453F3B46}" type="pres">
      <dgm:prSet presAssocID="{3A6BD867-B984-45B7-86C1-E534C853003A}" presName="node" presStyleLbl="node1" presStyleIdx="9" presStyleCnt="10" custScaleX="1139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85C8C99-DAFF-4E08-9470-A9DB998ACA35}" type="presOf" srcId="{F5DFCFFC-67B7-4E84-838E-89216FFE149E}" destId="{D75F535F-1E29-479D-BF17-9F4776DBB37C}" srcOrd="0" destOrd="0" presId="urn:microsoft.com/office/officeart/2005/8/layout/process5"/>
    <dgm:cxn modelId="{DC1AC1E7-C9D7-487F-A557-68BBDE13AA40}" srcId="{C5407B42-87DD-44B9-84EB-E4BFD3B3B113}" destId="{93D83B12-8832-485E-B0D6-C797C6F8C1CC}" srcOrd="4" destOrd="0" parTransId="{72B6DB6B-143D-47B6-9D7C-E89D8E89C42D}" sibTransId="{F20840DC-5499-45EF-8A1D-031649ED0180}"/>
    <dgm:cxn modelId="{07A2E4D1-633D-4293-BDF7-4215772DD1F6}" type="presOf" srcId="{F20840DC-5499-45EF-8A1D-031649ED0180}" destId="{A4EFD3FA-50D7-4E90-9D6F-09A9CA1EBBC5}" srcOrd="0" destOrd="0" presId="urn:microsoft.com/office/officeart/2005/8/layout/process5"/>
    <dgm:cxn modelId="{C0AAB2AE-B3D2-4E57-A893-59F7D6A8E253}" type="presOf" srcId="{3A6BD867-B984-45B7-86C1-E534C853003A}" destId="{0718D424-7109-4D32-8439-7E95453F3B46}" srcOrd="0" destOrd="0" presId="urn:microsoft.com/office/officeart/2005/8/layout/process5"/>
    <dgm:cxn modelId="{EE521C93-FAD8-48FB-A5B4-28B708EC8F83}" srcId="{C5407B42-87DD-44B9-84EB-E4BFD3B3B113}" destId="{E231ECBF-8837-4B00-BB06-5254013B7E98}" srcOrd="0" destOrd="0" parTransId="{376B122C-3824-44AD-99C3-EF10F5FFBB87}" sibTransId="{D8100E57-1AA8-447D-9477-3138A1601615}"/>
    <dgm:cxn modelId="{91F8AFF5-1C80-456C-A12F-D5BFC744F3EA}" type="presOf" srcId="{F20840DC-5499-45EF-8A1D-031649ED0180}" destId="{B8DDC0AC-23F4-4DD3-A038-57A54FE7DC98}" srcOrd="1" destOrd="0" presId="urn:microsoft.com/office/officeart/2005/8/layout/process5"/>
    <dgm:cxn modelId="{0A94191F-C640-4CDE-ACD7-806A062644F0}" srcId="{C5407B42-87DD-44B9-84EB-E4BFD3B3B113}" destId="{89BC97F9-8ADB-4181-9C46-01EF776A86AA}" srcOrd="2" destOrd="0" parTransId="{7E5BDE66-3B5A-4249-8846-B303B883C904}" sibTransId="{7A80D9DC-9426-496C-B364-F3DFDBD47E89}"/>
    <dgm:cxn modelId="{E26EFFB3-B13E-4902-BB18-51088E3FEA7D}" type="presOf" srcId="{7A80D9DC-9426-496C-B364-F3DFDBD47E89}" destId="{520D18CD-2F31-4B08-B98F-AD1391FDD153}" srcOrd="0" destOrd="0" presId="urn:microsoft.com/office/officeart/2005/8/layout/process5"/>
    <dgm:cxn modelId="{4B446D9F-B93C-4223-B569-AE8C42FECD92}" type="presOf" srcId="{3E1AC927-3D25-4BD3-8493-F23B7E3F7BC6}" destId="{481169CC-981B-4B50-9EBF-8EDDC644E752}" srcOrd="0" destOrd="0" presId="urn:microsoft.com/office/officeart/2005/8/layout/process5"/>
    <dgm:cxn modelId="{4E2FA45F-2667-44D0-A747-B6CD8BC63162}" type="presOf" srcId="{52ACEB7B-C8AA-46BB-B202-78931E83922F}" destId="{3A1D22C7-D220-4DE8-B320-04A43EB86998}" srcOrd="1" destOrd="0" presId="urn:microsoft.com/office/officeart/2005/8/layout/process5"/>
    <dgm:cxn modelId="{BE23064A-519A-445B-AA13-354AD41DD4D4}" type="presOf" srcId="{3E1AC927-3D25-4BD3-8493-F23B7E3F7BC6}" destId="{C516D099-4DDD-48B5-95BC-2696B30811E2}" srcOrd="1" destOrd="0" presId="urn:microsoft.com/office/officeart/2005/8/layout/process5"/>
    <dgm:cxn modelId="{014B1BBD-825E-4DAC-88A2-DA15372E236A}" srcId="{C5407B42-87DD-44B9-84EB-E4BFD3B3B113}" destId="{669CA18B-4105-4432-A232-B79FA55E0331}" srcOrd="3" destOrd="0" parTransId="{AE9F56A3-049F-4E55-AA17-0EFB7DD90D2D}" sibTransId="{3E1AC927-3D25-4BD3-8493-F23B7E3F7BC6}"/>
    <dgm:cxn modelId="{24DEB5A1-5427-4B73-A5F7-E70C97EAC17B}" type="presOf" srcId="{0C6F24E4-E698-4AA6-9174-7C26B5A30E92}" destId="{0C0E7B27-83BE-4FD4-B7A7-9C39FD758564}" srcOrd="0" destOrd="0" presId="urn:microsoft.com/office/officeart/2005/8/layout/process5"/>
    <dgm:cxn modelId="{8F74A381-33AB-4B7C-A070-AC6218A07FA7}" type="presOf" srcId="{C5407B42-87DD-44B9-84EB-E4BFD3B3B113}" destId="{4F9F0491-1FBA-41D9-99C5-644752F46886}" srcOrd="0" destOrd="0" presId="urn:microsoft.com/office/officeart/2005/8/layout/process5"/>
    <dgm:cxn modelId="{F3297D30-1042-4418-A6BE-51FF642343F8}" type="presOf" srcId="{322B4DE1-CB8C-4B21-BFD1-5908E6C106A8}" destId="{75664583-1C65-4092-8B5D-68AFEF6CDE6E}" srcOrd="0" destOrd="0" presId="urn:microsoft.com/office/officeart/2005/8/layout/process5"/>
    <dgm:cxn modelId="{011D763A-318B-4CC0-B8C4-2C19FDC5A468}" type="presOf" srcId="{52ACEB7B-C8AA-46BB-B202-78931E83922F}" destId="{7B430484-58A9-4CB2-8B56-65FE7283558A}" srcOrd="0" destOrd="0" presId="urn:microsoft.com/office/officeart/2005/8/layout/process5"/>
    <dgm:cxn modelId="{C63BECB4-4A21-4BD2-86B0-AC9DBE1CCD4E}" type="presOf" srcId="{D8100E57-1AA8-447D-9477-3138A1601615}" destId="{D3917B77-1B22-44CB-8147-31112382C082}" srcOrd="1" destOrd="0" presId="urn:microsoft.com/office/officeart/2005/8/layout/process5"/>
    <dgm:cxn modelId="{888FDBD9-8B52-4855-8B83-0786A2EADAC0}" type="presOf" srcId="{B40E7770-2A4C-46B2-B63B-A1229B0647DB}" destId="{DE3A1A29-4735-46DB-92D5-A5722CE33D72}" srcOrd="0" destOrd="0" presId="urn:microsoft.com/office/officeart/2005/8/layout/process5"/>
    <dgm:cxn modelId="{EECA3AAD-A4DC-42F8-9A5E-A9A6C902D2D2}" srcId="{C5407B42-87DD-44B9-84EB-E4BFD3B3B113}" destId="{3A6BD867-B984-45B7-86C1-E534C853003A}" srcOrd="9" destOrd="0" parTransId="{F9C91021-31F9-4BEB-AAA9-34EC76E58577}" sibTransId="{F696C857-CAD3-4903-B606-CE4773357CF1}"/>
    <dgm:cxn modelId="{8A22CB32-C2A8-4849-BEE5-90A096C907BE}" type="presOf" srcId="{9F372E7C-E733-4542-86E9-5149CC0EDA95}" destId="{95B51C84-4522-41F1-86EE-85380313C34D}" srcOrd="1" destOrd="0" presId="urn:microsoft.com/office/officeart/2005/8/layout/process5"/>
    <dgm:cxn modelId="{22FC3293-A5FD-4F07-8D1B-DB5CF0A27681}" srcId="{C5407B42-87DD-44B9-84EB-E4BFD3B3B113}" destId="{F5DFCFFC-67B7-4E84-838E-89216FFE149E}" srcOrd="5" destOrd="0" parTransId="{DC963B28-D7AD-444A-B6C6-2F6EF2009C05}" sibTransId="{52ACEB7B-C8AA-46BB-B202-78931E83922F}"/>
    <dgm:cxn modelId="{15632B5F-C420-4719-A4B0-50FD8C86C997}" srcId="{C5407B42-87DD-44B9-84EB-E4BFD3B3B113}" destId="{1658881B-6398-4A2B-BB92-32B14BA88A9D}" srcOrd="7" destOrd="0" parTransId="{4FB3F8AC-56BB-4DC6-8F00-FDF7D491E6BF}" sibTransId="{322B4DE1-CB8C-4B21-BFD1-5908E6C106A8}"/>
    <dgm:cxn modelId="{68F3A562-02A9-42CF-BA4E-EC8B9A02A3C3}" type="presOf" srcId="{1658881B-6398-4A2B-BB92-32B14BA88A9D}" destId="{9253B189-1DB9-440A-8588-E2D1A1A139E3}" srcOrd="0" destOrd="0" presId="urn:microsoft.com/office/officeart/2005/8/layout/process5"/>
    <dgm:cxn modelId="{BDA75A8F-8BCE-4AE8-A459-EFE1C8F8D04D}" type="presOf" srcId="{E231ECBF-8837-4B00-BB06-5254013B7E98}" destId="{C3A417EC-5B45-415A-9758-54B5F72B8059}" srcOrd="0" destOrd="0" presId="urn:microsoft.com/office/officeart/2005/8/layout/process5"/>
    <dgm:cxn modelId="{A90AE1C9-A709-4585-9398-F94E466C8204}" srcId="{C5407B42-87DD-44B9-84EB-E4BFD3B3B113}" destId="{A0561233-0056-40A2-B8F9-8DC0D509FF80}" srcOrd="1" destOrd="0" parTransId="{69D502FB-5226-4F1F-BC3C-A5D5AE2B2087}" sibTransId="{9F372E7C-E733-4542-86E9-5149CC0EDA95}"/>
    <dgm:cxn modelId="{DE2723AA-780D-4477-B124-016592296F20}" type="presOf" srcId="{557FF012-D432-4AD6-B819-57B77579C9D2}" destId="{EED01041-8413-4B25-9912-794AD79005D0}" srcOrd="0" destOrd="0" presId="urn:microsoft.com/office/officeart/2005/8/layout/process5"/>
    <dgm:cxn modelId="{30227598-CDB8-457A-823E-C0B3B192CF97}" type="presOf" srcId="{A0561233-0056-40A2-B8F9-8DC0D509FF80}" destId="{83465D6F-2BBC-41FA-92E4-CF92AFD6B79A}" srcOrd="0" destOrd="0" presId="urn:microsoft.com/office/officeart/2005/8/layout/process5"/>
    <dgm:cxn modelId="{1FAE1285-2DD4-467B-8971-E5074392EE46}" type="presOf" srcId="{89BC97F9-8ADB-4181-9C46-01EF776A86AA}" destId="{0BCE2F2E-4445-4D3C-8139-F9576C027698}" srcOrd="0" destOrd="0" presId="urn:microsoft.com/office/officeart/2005/8/layout/process5"/>
    <dgm:cxn modelId="{63932F02-6B1B-403D-AE96-9161930F6DDE}" type="presOf" srcId="{0C6F24E4-E698-4AA6-9174-7C26B5A30E92}" destId="{8FF7173F-E822-4E15-900D-ADDDE684EC94}" srcOrd="1" destOrd="0" presId="urn:microsoft.com/office/officeart/2005/8/layout/process5"/>
    <dgm:cxn modelId="{25D6284F-204C-41B9-9CE2-E487543E20A1}" type="presOf" srcId="{7A80D9DC-9426-496C-B364-F3DFDBD47E89}" destId="{A68EE179-D7DF-414D-9AC2-CFEEEC2A3AA7}" srcOrd="1" destOrd="0" presId="urn:microsoft.com/office/officeart/2005/8/layout/process5"/>
    <dgm:cxn modelId="{4631BE38-53D5-45BB-A205-19A75421723C}" type="presOf" srcId="{C613F53E-804A-48E3-B7E0-A18BD8728597}" destId="{FEE7C7A1-EADF-4384-B8B7-94B8DCB0A88B}" srcOrd="1" destOrd="0" presId="urn:microsoft.com/office/officeart/2005/8/layout/process5"/>
    <dgm:cxn modelId="{96D2F4FE-2A53-487F-B86A-C5DB7164392A}" type="presOf" srcId="{669CA18B-4105-4432-A232-B79FA55E0331}" destId="{78B4E1D2-B73D-4626-AFC5-A422A3D74E13}" srcOrd="0" destOrd="0" presId="urn:microsoft.com/office/officeart/2005/8/layout/process5"/>
    <dgm:cxn modelId="{C0CEC036-5B17-4778-8013-155B27F05CB8}" type="presOf" srcId="{D8100E57-1AA8-447D-9477-3138A1601615}" destId="{CFDB47F2-778D-4FA2-B45A-E7F99AE1F20D}" srcOrd="0" destOrd="0" presId="urn:microsoft.com/office/officeart/2005/8/layout/process5"/>
    <dgm:cxn modelId="{77F75F4A-0962-442C-A8B2-CCD5E7A86756}" type="presOf" srcId="{322B4DE1-CB8C-4B21-BFD1-5908E6C106A8}" destId="{53FE26FF-8937-4F6B-83B0-9AE6B2B63E6C}" srcOrd="1" destOrd="0" presId="urn:microsoft.com/office/officeart/2005/8/layout/process5"/>
    <dgm:cxn modelId="{3A579AFF-C053-45DD-9246-A16FBC4356CB}" type="presOf" srcId="{C613F53E-804A-48E3-B7E0-A18BD8728597}" destId="{C975A743-45DC-47AA-8A95-25DAC725EE2B}" srcOrd="0" destOrd="0" presId="urn:microsoft.com/office/officeart/2005/8/layout/process5"/>
    <dgm:cxn modelId="{DEAA6A31-62FB-4B9F-844B-8A876FF7A3D7}" srcId="{C5407B42-87DD-44B9-84EB-E4BFD3B3B113}" destId="{B40E7770-2A4C-46B2-B63B-A1229B0647DB}" srcOrd="8" destOrd="0" parTransId="{30E2AEAF-541E-4779-8659-F00CA67ECA86}" sibTransId="{C613F53E-804A-48E3-B7E0-A18BD8728597}"/>
    <dgm:cxn modelId="{0BB944C7-F23F-45C7-A01E-D432DDFCF27C}" srcId="{C5407B42-87DD-44B9-84EB-E4BFD3B3B113}" destId="{557FF012-D432-4AD6-B819-57B77579C9D2}" srcOrd="6" destOrd="0" parTransId="{BC11B9E5-4131-4048-8B59-2D1265B9C766}" sibTransId="{0C6F24E4-E698-4AA6-9174-7C26B5A30E92}"/>
    <dgm:cxn modelId="{3FBD1F07-5E42-4573-95AD-FED9E779B94D}" type="presOf" srcId="{9F372E7C-E733-4542-86E9-5149CC0EDA95}" destId="{324F9DB4-72A3-46E6-B03B-FFDF0D2E0223}" srcOrd="0" destOrd="0" presId="urn:microsoft.com/office/officeart/2005/8/layout/process5"/>
    <dgm:cxn modelId="{FEB8D033-4F4E-4DA2-92BF-F870A7089F03}" type="presOf" srcId="{93D83B12-8832-485E-B0D6-C797C6F8C1CC}" destId="{F2A03514-5FF8-4D87-97C5-3485333D6C53}" srcOrd="0" destOrd="0" presId="urn:microsoft.com/office/officeart/2005/8/layout/process5"/>
    <dgm:cxn modelId="{2F0A89DF-89F1-49BB-B795-5876214023B5}" type="presParOf" srcId="{4F9F0491-1FBA-41D9-99C5-644752F46886}" destId="{C3A417EC-5B45-415A-9758-54B5F72B8059}" srcOrd="0" destOrd="0" presId="urn:microsoft.com/office/officeart/2005/8/layout/process5"/>
    <dgm:cxn modelId="{0A4A2315-F4E4-46CF-88B2-3DE0F4F3F8B3}" type="presParOf" srcId="{4F9F0491-1FBA-41D9-99C5-644752F46886}" destId="{CFDB47F2-778D-4FA2-B45A-E7F99AE1F20D}" srcOrd="1" destOrd="0" presId="urn:microsoft.com/office/officeart/2005/8/layout/process5"/>
    <dgm:cxn modelId="{180BEDA0-B905-4D54-82A6-85F421CCC18F}" type="presParOf" srcId="{CFDB47F2-778D-4FA2-B45A-E7F99AE1F20D}" destId="{D3917B77-1B22-44CB-8147-31112382C082}" srcOrd="0" destOrd="0" presId="urn:microsoft.com/office/officeart/2005/8/layout/process5"/>
    <dgm:cxn modelId="{0A0A5B38-43C0-4E9A-ACA9-6E65E6517043}" type="presParOf" srcId="{4F9F0491-1FBA-41D9-99C5-644752F46886}" destId="{83465D6F-2BBC-41FA-92E4-CF92AFD6B79A}" srcOrd="2" destOrd="0" presId="urn:microsoft.com/office/officeart/2005/8/layout/process5"/>
    <dgm:cxn modelId="{A60D109D-062F-43C5-8DB7-C0B416E28152}" type="presParOf" srcId="{4F9F0491-1FBA-41D9-99C5-644752F46886}" destId="{324F9DB4-72A3-46E6-B03B-FFDF0D2E0223}" srcOrd="3" destOrd="0" presId="urn:microsoft.com/office/officeart/2005/8/layout/process5"/>
    <dgm:cxn modelId="{FE1DF050-640A-47A6-ABB5-29A787A91504}" type="presParOf" srcId="{324F9DB4-72A3-46E6-B03B-FFDF0D2E0223}" destId="{95B51C84-4522-41F1-86EE-85380313C34D}" srcOrd="0" destOrd="0" presId="urn:microsoft.com/office/officeart/2005/8/layout/process5"/>
    <dgm:cxn modelId="{0BA36411-FEF6-4BE4-9417-92262C068F9E}" type="presParOf" srcId="{4F9F0491-1FBA-41D9-99C5-644752F46886}" destId="{0BCE2F2E-4445-4D3C-8139-F9576C027698}" srcOrd="4" destOrd="0" presId="urn:microsoft.com/office/officeart/2005/8/layout/process5"/>
    <dgm:cxn modelId="{8871C5C6-7AB9-47F5-9A63-D3E2E4A507D5}" type="presParOf" srcId="{4F9F0491-1FBA-41D9-99C5-644752F46886}" destId="{520D18CD-2F31-4B08-B98F-AD1391FDD153}" srcOrd="5" destOrd="0" presId="urn:microsoft.com/office/officeart/2005/8/layout/process5"/>
    <dgm:cxn modelId="{F648D0F7-7623-45E3-BFB0-2AC65B542E67}" type="presParOf" srcId="{520D18CD-2F31-4B08-B98F-AD1391FDD153}" destId="{A68EE179-D7DF-414D-9AC2-CFEEEC2A3AA7}" srcOrd="0" destOrd="0" presId="urn:microsoft.com/office/officeart/2005/8/layout/process5"/>
    <dgm:cxn modelId="{30B0A6C9-3D11-4E42-A2F4-884B368FB2DB}" type="presParOf" srcId="{4F9F0491-1FBA-41D9-99C5-644752F46886}" destId="{78B4E1D2-B73D-4626-AFC5-A422A3D74E13}" srcOrd="6" destOrd="0" presId="urn:microsoft.com/office/officeart/2005/8/layout/process5"/>
    <dgm:cxn modelId="{F80FEFE8-0504-4916-9799-3663471969FE}" type="presParOf" srcId="{4F9F0491-1FBA-41D9-99C5-644752F46886}" destId="{481169CC-981B-4B50-9EBF-8EDDC644E752}" srcOrd="7" destOrd="0" presId="urn:microsoft.com/office/officeart/2005/8/layout/process5"/>
    <dgm:cxn modelId="{E1B0936A-79FA-47AB-A34E-AA544D560B24}" type="presParOf" srcId="{481169CC-981B-4B50-9EBF-8EDDC644E752}" destId="{C516D099-4DDD-48B5-95BC-2696B30811E2}" srcOrd="0" destOrd="0" presId="urn:microsoft.com/office/officeart/2005/8/layout/process5"/>
    <dgm:cxn modelId="{CDEE9769-0F6A-431A-B6CF-3C94210EBAEF}" type="presParOf" srcId="{4F9F0491-1FBA-41D9-99C5-644752F46886}" destId="{F2A03514-5FF8-4D87-97C5-3485333D6C53}" srcOrd="8" destOrd="0" presId="urn:microsoft.com/office/officeart/2005/8/layout/process5"/>
    <dgm:cxn modelId="{BF9A461D-A0C1-414F-BFCC-74CA5557B7F3}" type="presParOf" srcId="{4F9F0491-1FBA-41D9-99C5-644752F46886}" destId="{A4EFD3FA-50D7-4E90-9D6F-09A9CA1EBBC5}" srcOrd="9" destOrd="0" presId="urn:microsoft.com/office/officeart/2005/8/layout/process5"/>
    <dgm:cxn modelId="{484BE3AE-B344-4201-B80A-2FE55F0A4F7B}" type="presParOf" srcId="{A4EFD3FA-50D7-4E90-9D6F-09A9CA1EBBC5}" destId="{B8DDC0AC-23F4-4DD3-A038-57A54FE7DC98}" srcOrd="0" destOrd="0" presId="urn:microsoft.com/office/officeart/2005/8/layout/process5"/>
    <dgm:cxn modelId="{A745DA56-E19B-49C1-AAA1-1FB5FFE7EDA3}" type="presParOf" srcId="{4F9F0491-1FBA-41D9-99C5-644752F46886}" destId="{D75F535F-1E29-479D-BF17-9F4776DBB37C}" srcOrd="10" destOrd="0" presId="urn:microsoft.com/office/officeart/2005/8/layout/process5"/>
    <dgm:cxn modelId="{CD13F8AC-8A0F-4D63-A5C2-36CC99ED0DD9}" type="presParOf" srcId="{4F9F0491-1FBA-41D9-99C5-644752F46886}" destId="{7B430484-58A9-4CB2-8B56-65FE7283558A}" srcOrd="11" destOrd="0" presId="urn:microsoft.com/office/officeart/2005/8/layout/process5"/>
    <dgm:cxn modelId="{17A5ACD9-B564-4B5D-ADAD-1E47F84D98BB}" type="presParOf" srcId="{7B430484-58A9-4CB2-8B56-65FE7283558A}" destId="{3A1D22C7-D220-4DE8-B320-04A43EB86998}" srcOrd="0" destOrd="0" presId="urn:microsoft.com/office/officeart/2005/8/layout/process5"/>
    <dgm:cxn modelId="{31ED76D1-14FB-4078-9B68-D65697642006}" type="presParOf" srcId="{4F9F0491-1FBA-41D9-99C5-644752F46886}" destId="{EED01041-8413-4B25-9912-794AD79005D0}" srcOrd="12" destOrd="0" presId="urn:microsoft.com/office/officeart/2005/8/layout/process5"/>
    <dgm:cxn modelId="{10D33353-0F71-4031-8D3B-9C286D86050E}" type="presParOf" srcId="{4F9F0491-1FBA-41D9-99C5-644752F46886}" destId="{0C0E7B27-83BE-4FD4-B7A7-9C39FD758564}" srcOrd="13" destOrd="0" presId="urn:microsoft.com/office/officeart/2005/8/layout/process5"/>
    <dgm:cxn modelId="{1A5A78EA-371E-40BF-AE9F-E329F6D5F3F9}" type="presParOf" srcId="{0C0E7B27-83BE-4FD4-B7A7-9C39FD758564}" destId="{8FF7173F-E822-4E15-900D-ADDDE684EC94}" srcOrd="0" destOrd="0" presId="urn:microsoft.com/office/officeart/2005/8/layout/process5"/>
    <dgm:cxn modelId="{0E9D2581-4B56-40BF-AC68-67E98085F073}" type="presParOf" srcId="{4F9F0491-1FBA-41D9-99C5-644752F46886}" destId="{9253B189-1DB9-440A-8588-E2D1A1A139E3}" srcOrd="14" destOrd="0" presId="urn:microsoft.com/office/officeart/2005/8/layout/process5"/>
    <dgm:cxn modelId="{A40F0E99-9ED1-4D1C-8BF2-D04661ED3A4A}" type="presParOf" srcId="{4F9F0491-1FBA-41D9-99C5-644752F46886}" destId="{75664583-1C65-4092-8B5D-68AFEF6CDE6E}" srcOrd="15" destOrd="0" presId="urn:microsoft.com/office/officeart/2005/8/layout/process5"/>
    <dgm:cxn modelId="{9CC7AD6D-58D6-4CE0-BE68-2A60ABA4D035}" type="presParOf" srcId="{75664583-1C65-4092-8B5D-68AFEF6CDE6E}" destId="{53FE26FF-8937-4F6B-83B0-9AE6B2B63E6C}" srcOrd="0" destOrd="0" presId="urn:microsoft.com/office/officeart/2005/8/layout/process5"/>
    <dgm:cxn modelId="{B61C9C66-F5FD-446A-B972-FCBF87F7C772}" type="presParOf" srcId="{4F9F0491-1FBA-41D9-99C5-644752F46886}" destId="{DE3A1A29-4735-46DB-92D5-A5722CE33D72}" srcOrd="16" destOrd="0" presId="urn:microsoft.com/office/officeart/2005/8/layout/process5"/>
    <dgm:cxn modelId="{72A9E722-2EAA-4F08-B2DC-3E14C2EF4836}" type="presParOf" srcId="{4F9F0491-1FBA-41D9-99C5-644752F46886}" destId="{C975A743-45DC-47AA-8A95-25DAC725EE2B}" srcOrd="17" destOrd="0" presId="urn:microsoft.com/office/officeart/2005/8/layout/process5"/>
    <dgm:cxn modelId="{AB21C758-C317-4E32-8E1D-C1CD91FE223F}" type="presParOf" srcId="{C975A743-45DC-47AA-8A95-25DAC725EE2B}" destId="{FEE7C7A1-EADF-4384-B8B7-94B8DCB0A88B}" srcOrd="0" destOrd="0" presId="urn:microsoft.com/office/officeart/2005/8/layout/process5"/>
    <dgm:cxn modelId="{17AD5012-C353-470A-B29C-7C2FB3B3CC5F}" type="presParOf" srcId="{4F9F0491-1FBA-41D9-99C5-644752F46886}" destId="{0718D424-7109-4D32-8439-7E95453F3B46}" srcOrd="1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417EC-5B45-415A-9758-54B5F72B8059}">
      <dsp:nvSpPr>
        <dsp:cNvPr id="0" name=""/>
        <dsp:cNvSpPr/>
      </dsp:nvSpPr>
      <dsp:spPr>
        <a:xfrm>
          <a:off x="110120" y="516593"/>
          <a:ext cx="1660262" cy="996157"/>
        </a:xfrm>
        <a:prstGeom prst="roundRect">
          <a:avLst>
            <a:gd name="adj" fmla="val 10000"/>
          </a:avLst>
        </a:prstGeom>
        <a:solidFill>
          <a:schemeClr val="accent3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1. „</a:t>
          </a:r>
          <a:r>
            <a:rPr lang="ru-RU" sz="900" kern="1200" dirty="0" err="1" smtClean="0"/>
            <a:t>Подобряване</a:t>
          </a:r>
          <a:r>
            <a:rPr lang="ru-RU" sz="900" kern="1200" dirty="0" smtClean="0"/>
            <a:t> на </a:t>
          </a:r>
          <a:r>
            <a:rPr lang="ru-RU" sz="900" kern="1200" dirty="0" err="1" smtClean="0"/>
            <a:t>производствения</a:t>
          </a:r>
          <a:r>
            <a:rPr lang="ru-RU" sz="900" kern="1200" dirty="0" smtClean="0"/>
            <a:t> </a:t>
          </a:r>
          <a:r>
            <a:rPr lang="ru-RU" sz="900" kern="1200" dirty="0" err="1" smtClean="0"/>
            <a:t>капацитет</a:t>
          </a:r>
          <a:r>
            <a:rPr lang="ru-RU" sz="900" kern="1200" dirty="0" smtClean="0"/>
            <a:t> в МСП»</a:t>
          </a:r>
          <a:endParaRPr lang="bg-BG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май 2015)</a:t>
          </a:r>
          <a:endParaRPr lang="en-US" sz="900" kern="1200" dirty="0"/>
        </a:p>
      </dsp:txBody>
      <dsp:txXfrm>
        <a:off x="139296" y="545769"/>
        <a:ext cx="1601910" cy="937805"/>
      </dsp:txXfrm>
    </dsp:sp>
    <dsp:sp modelId="{CFDB47F2-778D-4FA2-B45A-E7F99AE1F20D}">
      <dsp:nvSpPr>
        <dsp:cNvPr id="0" name=""/>
        <dsp:cNvSpPr/>
      </dsp:nvSpPr>
      <dsp:spPr>
        <a:xfrm rot="21583511">
          <a:off x="1946675" y="819256"/>
          <a:ext cx="295627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946676" y="901818"/>
        <a:ext cx="206939" cy="247047"/>
      </dsp:txXfrm>
    </dsp:sp>
    <dsp:sp modelId="{83465D6F-2BBC-41FA-92E4-CF92AFD6B79A}">
      <dsp:nvSpPr>
        <dsp:cNvPr id="0" name=""/>
        <dsp:cNvSpPr/>
      </dsp:nvSpPr>
      <dsp:spPr>
        <a:xfrm>
          <a:off x="2328164" y="505954"/>
          <a:ext cx="1660262" cy="996157"/>
        </a:xfrm>
        <a:prstGeom prst="roundRect">
          <a:avLst>
            <a:gd name="adj" fmla="val 10000"/>
          </a:avLst>
        </a:prstGeom>
        <a:solidFill>
          <a:schemeClr val="accent1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2. „</a:t>
          </a:r>
          <a:r>
            <a:rPr lang="ru-RU" sz="900" kern="1200" dirty="0" err="1" smtClean="0"/>
            <a:t>Подкрепа</a:t>
          </a:r>
          <a:r>
            <a:rPr lang="ru-RU" sz="900" kern="1200" dirty="0" smtClean="0"/>
            <a:t> за </a:t>
          </a:r>
          <a:r>
            <a:rPr lang="ru-RU" sz="900" kern="1200" dirty="0" err="1" smtClean="0"/>
            <a:t>внедряване</a:t>
          </a:r>
          <a:r>
            <a:rPr lang="ru-RU" sz="900" kern="1200" dirty="0" smtClean="0"/>
            <a:t> на </a:t>
          </a:r>
          <a:r>
            <a:rPr lang="ru-RU" sz="900" kern="1200" dirty="0" err="1" smtClean="0"/>
            <a:t>иновации</a:t>
          </a:r>
          <a:r>
            <a:rPr lang="ru-RU" sz="900" kern="1200" dirty="0" smtClean="0"/>
            <a:t> в </a:t>
          </a:r>
          <a:r>
            <a:rPr lang="ru-RU" sz="900" kern="1200" dirty="0" err="1" smtClean="0"/>
            <a:t>предприятията</a:t>
          </a:r>
          <a:r>
            <a:rPr lang="ru-RU" sz="900" kern="1200" dirty="0" smtClean="0"/>
            <a:t>»</a:t>
          </a:r>
          <a:endParaRPr lang="bg-BG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 (декември 2015)</a:t>
          </a:r>
          <a:endParaRPr lang="en-US" sz="900" kern="1200" dirty="0"/>
        </a:p>
      </dsp:txBody>
      <dsp:txXfrm>
        <a:off x="2357340" y="535130"/>
        <a:ext cx="1601910" cy="937805"/>
      </dsp:txXfrm>
    </dsp:sp>
    <dsp:sp modelId="{324F9DB4-72A3-46E6-B03B-FFDF0D2E0223}">
      <dsp:nvSpPr>
        <dsp:cNvPr id="0" name=""/>
        <dsp:cNvSpPr/>
      </dsp:nvSpPr>
      <dsp:spPr>
        <a:xfrm>
          <a:off x="4134530" y="798160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4134530" y="880509"/>
        <a:ext cx="246383" cy="247047"/>
      </dsp:txXfrm>
    </dsp:sp>
    <dsp:sp modelId="{0BCE2F2E-4445-4D3C-8139-F9576C027698}">
      <dsp:nvSpPr>
        <dsp:cNvPr id="0" name=""/>
        <dsp:cNvSpPr/>
      </dsp:nvSpPr>
      <dsp:spPr>
        <a:xfrm>
          <a:off x="4652532" y="505954"/>
          <a:ext cx="1660262" cy="996157"/>
        </a:xfrm>
        <a:prstGeom prst="roundRect">
          <a:avLst>
            <a:gd name="adj" fmla="val 10000"/>
          </a:avLst>
        </a:prstGeom>
        <a:solidFill>
          <a:schemeClr val="accent1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3. </a:t>
          </a:r>
          <a:r>
            <a:rPr lang="ru-RU" sz="900" kern="1200" dirty="0" smtClean="0"/>
            <a:t>„</a:t>
          </a:r>
          <a:r>
            <a:rPr lang="ru-RU" sz="900" kern="1200" dirty="0" err="1" smtClean="0"/>
            <a:t>Подкрепа</a:t>
          </a:r>
          <a:r>
            <a:rPr lang="ru-RU" sz="900" kern="1200" dirty="0" smtClean="0"/>
            <a:t> за </a:t>
          </a:r>
          <a:r>
            <a:rPr lang="ru-RU" sz="900" kern="1200" dirty="0" err="1" smtClean="0"/>
            <a:t>разработване</a:t>
          </a:r>
          <a:r>
            <a:rPr lang="ru-RU" sz="900" kern="1200" dirty="0" smtClean="0"/>
            <a:t> на </a:t>
          </a:r>
          <a:r>
            <a:rPr lang="ru-RU" sz="900" kern="1200" dirty="0" err="1" smtClean="0"/>
            <a:t>иновации</a:t>
          </a:r>
          <a:r>
            <a:rPr lang="ru-RU" sz="900" kern="1200" dirty="0" smtClean="0"/>
            <a:t> от </a:t>
          </a:r>
          <a:r>
            <a:rPr lang="ru-RU" sz="900" kern="1200" dirty="0" err="1" smtClean="0"/>
            <a:t>стартиращи</a:t>
          </a:r>
          <a:r>
            <a:rPr lang="ru-RU" sz="900" kern="1200" dirty="0" smtClean="0"/>
            <a:t> предприятия“</a:t>
          </a:r>
          <a:endParaRPr lang="bg-BG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февруари</a:t>
          </a:r>
          <a:r>
            <a:rPr lang="en-US" sz="900" kern="1200" dirty="0" smtClean="0"/>
            <a:t> </a:t>
          </a:r>
          <a:r>
            <a:rPr lang="bg-BG" sz="900" kern="1200" dirty="0" smtClean="0"/>
            <a:t>2016)</a:t>
          </a:r>
          <a:endParaRPr lang="en-US" sz="900" kern="1200" dirty="0"/>
        </a:p>
      </dsp:txBody>
      <dsp:txXfrm>
        <a:off x="4681708" y="535130"/>
        <a:ext cx="1601910" cy="937805"/>
      </dsp:txXfrm>
    </dsp:sp>
    <dsp:sp modelId="{520D18CD-2F31-4B08-B98F-AD1391FDD153}">
      <dsp:nvSpPr>
        <dsp:cNvPr id="0" name=""/>
        <dsp:cNvSpPr/>
      </dsp:nvSpPr>
      <dsp:spPr>
        <a:xfrm>
          <a:off x="6458898" y="798160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6458898" y="880509"/>
        <a:ext cx="246383" cy="247047"/>
      </dsp:txXfrm>
    </dsp:sp>
    <dsp:sp modelId="{78B4E1D2-B73D-4626-AFC5-A422A3D74E13}">
      <dsp:nvSpPr>
        <dsp:cNvPr id="0" name=""/>
        <dsp:cNvSpPr/>
      </dsp:nvSpPr>
      <dsp:spPr>
        <a:xfrm>
          <a:off x="6976900" y="505954"/>
          <a:ext cx="1660262" cy="996157"/>
        </a:xfrm>
        <a:prstGeom prst="roundRect">
          <a:avLst>
            <a:gd name="adj" fmla="val 10000"/>
          </a:avLst>
        </a:prstGeom>
        <a:solidFill>
          <a:schemeClr val="accent5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4. „Енергийна ефективност за МСП“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май 2016)</a:t>
          </a:r>
          <a:endParaRPr lang="en-US" sz="900" kern="1200" dirty="0"/>
        </a:p>
      </dsp:txBody>
      <dsp:txXfrm>
        <a:off x="7006076" y="535130"/>
        <a:ext cx="1601910" cy="937805"/>
      </dsp:txXfrm>
    </dsp:sp>
    <dsp:sp modelId="{481169CC-981B-4B50-9EBF-8EDDC644E752}">
      <dsp:nvSpPr>
        <dsp:cNvPr id="0" name=""/>
        <dsp:cNvSpPr/>
      </dsp:nvSpPr>
      <dsp:spPr>
        <a:xfrm rot="5400000">
          <a:off x="7631043" y="1618330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-5400000">
        <a:off x="7683507" y="1648215"/>
        <a:ext cx="247047" cy="246383"/>
      </dsp:txXfrm>
    </dsp:sp>
    <dsp:sp modelId="{F2A03514-5FF8-4D87-97C5-3485333D6C53}">
      <dsp:nvSpPr>
        <dsp:cNvPr id="0" name=""/>
        <dsp:cNvSpPr/>
      </dsp:nvSpPr>
      <dsp:spPr>
        <a:xfrm>
          <a:off x="6976900" y="2166216"/>
          <a:ext cx="1660262" cy="996157"/>
        </a:xfrm>
        <a:prstGeom prst="roundRect">
          <a:avLst>
            <a:gd name="adj" fmla="val 10000"/>
          </a:avLst>
        </a:prstGeom>
        <a:solidFill>
          <a:schemeClr val="accent3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5. „</a:t>
          </a:r>
          <a:r>
            <a:rPr lang="ru-RU" sz="900" kern="1200" dirty="0" smtClean="0"/>
            <a:t>Развитие на </a:t>
          </a:r>
          <a:r>
            <a:rPr lang="ru-RU" sz="900" kern="1200" dirty="0" err="1" smtClean="0"/>
            <a:t>управленския</a:t>
          </a:r>
          <a:r>
            <a:rPr lang="ru-RU" sz="900" kern="1200" dirty="0" smtClean="0"/>
            <a:t> </a:t>
          </a:r>
          <a:r>
            <a:rPr lang="ru-RU" sz="900" kern="1200" dirty="0" err="1" smtClean="0"/>
            <a:t>капацитет</a:t>
          </a:r>
          <a:r>
            <a:rPr lang="ru-RU" sz="900" kern="1200" dirty="0" smtClean="0"/>
            <a:t> и </a:t>
          </a:r>
          <a:r>
            <a:rPr lang="ru-RU" sz="900" kern="1200" dirty="0" err="1" smtClean="0"/>
            <a:t>растеж</a:t>
          </a:r>
          <a:r>
            <a:rPr lang="ru-RU" sz="900" kern="1200" dirty="0" smtClean="0"/>
            <a:t> на МСП»</a:t>
          </a:r>
          <a:endParaRPr lang="bg-BG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юни</a:t>
          </a:r>
          <a:r>
            <a:rPr lang="en-US" sz="900" kern="1200" dirty="0" smtClean="0"/>
            <a:t> </a:t>
          </a:r>
          <a:r>
            <a:rPr lang="bg-BG" sz="900" kern="1200" dirty="0" smtClean="0"/>
            <a:t>2016)</a:t>
          </a:r>
          <a:endParaRPr lang="en-US" sz="900" kern="1200" dirty="0"/>
        </a:p>
      </dsp:txBody>
      <dsp:txXfrm>
        <a:off x="7006076" y="2195392"/>
        <a:ext cx="1601910" cy="937805"/>
      </dsp:txXfrm>
    </dsp:sp>
    <dsp:sp modelId="{A4EFD3FA-50D7-4E90-9D6F-09A9CA1EBBC5}">
      <dsp:nvSpPr>
        <dsp:cNvPr id="0" name=""/>
        <dsp:cNvSpPr/>
      </dsp:nvSpPr>
      <dsp:spPr>
        <a:xfrm rot="10800000">
          <a:off x="6478821" y="2458422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6584413" y="2540771"/>
        <a:ext cx="246383" cy="247047"/>
      </dsp:txXfrm>
    </dsp:sp>
    <dsp:sp modelId="{D75F535F-1E29-479D-BF17-9F4776DBB37C}">
      <dsp:nvSpPr>
        <dsp:cNvPr id="0" name=""/>
        <dsp:cNvSpPr/>
      </dsp:nvSpPr>
      <dsp:spPr>
        <a:xfrm>
          <a:off x="4652532" y="2166216"/>
          <a:ext cx="1660262" cy="996157"/>
        </a:xfrm>
        <a:prstGeom prst="roundRect">
          <a:avLst>
            <a:gd name="adj" fmla="val 10000"/>
          </a:avLst>
        </a:prstGeom>
        <a:solidFill>
          <a:schemeClr val="accent3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6. „Развитие на клъстери в България“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декември 20</a:t>
          </a:r>
          <a:r>
            <a:rPr lang="en-US" sz="900" kern="1200" dirty="0" smtClean="0"/>
            <a:t>16</a:t>
          </a:r>
          <a:r>
            <a:rPr lang="bg-BG" sz="900" kern="1200" dirty="0" smtClean="0"/>
            <a:t>)</a:t>
          </a:r>
        </a:p>
      </dsp:txBody>
      <dsp:txXfrm>
        <a:off x="4681708" y="2195392"/>
        <a:ext cx="1601910" cy="937805"/>
      </dsp:txXfrm>
    </dsp:sp>
    <dsp:sp modelId="{7B430484-58A9-4CB2-8B56-65FE7283558A}">
      <dsp:nvSpPr>
        <dsp:cNvPr id="0" name=""/>
        <dsp:cNvSpPr/>
      </dsp:nvSpPr>
      <dsp:spPr>
        <a:xfrm rot="10800000">
          <a:off x="4154453" y="2458422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4260045" y="2540771"/>
        <a:ext cx="246383" cy="247047"/>
      </dsp:txXfrm>
    </dsp:sp>
    <dsp:sp modelId="{EED01041-8413-4B25-9912-794AD79005D0}">
      <dsp:nvSpPr>
        <dsp:cNvPr id="0" name=""/>
        <dsp:cNvSpPr/>
      </dsp:nvSpPr>
      <dsp:spPr>
        <a:xfrm>
          <a:off x="2328164" y="2166216"/>
          <a:ext cx="1660262" cy="996157"/>
        </a:xfrm>
        <a:prstGeom prst="roundRect">
          <a:avLst>
            <a:gd name="adj" fmla="val 10000"/>
          </a:avLst>
        </a:prstGeom>
        <a:solidFill>
          <a:schemeClr val="accent5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7.“Енергийна ефективност в големи предприятия“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януари</a:t>
          </a:r>
          <a:r>
            <a:rPr lang="en-US" sz="900" kern="1200" dirty="0" smtClean="0"/>
            <a:t> 2017</a:t>
          </a:r>
          <a:r>
            <a:rPr lang="bg-BG" sz="900" kern="1200" dirty="0" smtClean="0"/>
            <a:t>)</a:t>
          </a:r>
          <a:endParaRPr lang="en-US" sz="900" kern="1200" dirty="0"/>
        </a:p>
      </dsp:txBody>
      <dsp:txXfrm>
        <a:off x="2357340" y="2195392"/>
        <a:ext cx="1601910" cy="937805"/>
      </dsp:txXfrm>
    </dsp:sp>
    <dsp:sp modelId="{0C0E7B27-83BE-4FD4-B7A7-9C39FD758564}">
      <dsp:nvSpPr>
        <dsp:cNvPr id="0" name=""/>
        <dsp:cNvSpPr/>
      </dsp:nvSpPr>
      <dsp:spPr>
        <a:xfrm rot="10800000">
          <a:off x="1830086" y="2458422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1935678" y="2540771"/>
        <a:ext cx="246383" cy="247047"/>
      </dsp:txXfrm>
    </dsp:sp>
    <dsp:sp modelId="{9253B189-1DB9-440A-8588-E2D1A1A139E3}">
      <dsp:nvSpPr>
        <dsp:cNvPr id="0" name=""/>
        <dsp:cNvSpPr/>
      </dsp:nvSpPr>
      <dsp:spPr>
        <a:xfrm>
          <a:off x="3797" y="2166216"/>
          <a:ext cx="1660262" cy="996157"/>
        </a:xfrm>
        <a:prstGeom prst="roundRect">
          <a:avLst>
            <a:gd name="adj" fmla="val 10000"/>
          </a:avLst>
        </a:prstGeom>
        <a:solidFill>
          <a:schemeClr val="accent1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8. „Развитие на продуктови и производствени иновации“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юни 2017)</a:t>
          </a:r>
          <a:endParaRPr lang="en-US" sz="900" kern="1200" dirty="0"/>
        </a:p>
      </dsp:txBody>
      <dsp:txXfrm>
        <a:off x="32973" y="2195392"/>
        <a:ext cx="1601910" cy="937805"/>
      </dsp:txXfrm>
    </dsp:sp>
    <dsp:sp modelId="{75664583-1C65-4092-8B5D-68AFEF6CDE6E}">
      <dsp:nvSpPr>
        <dsp:cNvPr id="0" name=""/>
        <dsp:cNvSpPr/>
      </dsp:nvSpPr>
      <dsp:spPr>
        <a:xfrm rot="5400000">
          <a:off x="657940" y="3278592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-5400000">
        <a:off x="710404" y="3308477"/>
        <a:ext cx="247047" cy="246383"/>
      </dsp:txXfrm>
    </dsp:sp>
    <dsp:sp modelId="{DE3A1A29-4735-46DB-92D5-A5722CE33D72}">
      <dsp:nvSpPr>
        <dsp:cNvPr id="0" name=""/>
        <dsp:cNvSpPr/>
      </dsp:nvSpPr>
      <dsp:spPr>
        <a:xfrm>
          <a:off x="3797" y="3826479"/>
          <a:ext cx="1660262" cy="996157"/>
        </a:xfrm>
        <a:prstGeom prst="roundRect">
          <a:avLst>
            <a:gd name="adj" fmla="val 10000"/>
          </a:avLst>
        </a:prstGeom>
        <a:solidFill>
          <a:schemeClr val="accent5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9. „</a:t>
          </a:r>
          <a:r>
            <a:rPr lang="ru-RU" sz="900" kern="1200" dirty="0" err="1" smtClean="0"/>
            <a:t>Подкрепа</a:t>
          </a:r>
          <a:r>
            <a:rPr lang="ru-RU" sz="900" kern="1200" dirty="0" smtClean="0"/>
            <a:t> за </a:t>
          </a:r>
          <a:r>
            <a:rPr lang="ru-RU" sz="900" kern="1200" dirty="0" err="1" smtClean="0"/>
            <a:t>пилотни</a:t>
          </a:r>
          <a:r>
            <a:rPr lang="ru-RU" sz="900" kern="1200" dirty="0" smtClean="0"/>
            <a:t> и </a:t>
          </a:r>
          <a:r>
            <a:rPr lang="ru-RU" sz="900" kern="1200" dirty="0" err="1" smtClean="0"/>
            <a:t>демонстрационни</a:t>
          </a:r>
          <a:r>
            <a:rPr lang="ru-RU" sz="900" kern="1200" dirty="0" smtClean="0"/>
            <a:t> </a:t>
          </a:r>
          <a:r>
            <a:rPr lang="ru-RU" sz="900" kern="1200" dirty="0" err="1" smtClean="0"/>
            <a:t>инициативи</a:t>
          </a:r>
          <a:r>
            <a:rPr lang="ru-RU" sz="900" kern="1200" dirty="0" smtClean="0"/>
            <a:t> за </a:t>
          </a:r>
          <a:r>
            <a:rPr lang="ru-RU" sz="900" kern="1200" dirty="0" err="1" smtClean="0"/>
            <a:t>ефективно</a:t>
          </a:r>
          <a:r>
            <a:rPr lang="ru-RU" sz="900" kern="1200" dirty="0" smtClean="0"/>
            <a:t> </a:t>
          </a:r>
          <a:r>
            <a:rPr lang="ru-RU" sz="900" kern="1200" dirty="0" err="1" smtClean="0"/>
            <a:t>използване</a:t>
          </a:r>
          <a:r>
            <a:rPr lang="ru-RU" sz="900" kern="1200" dirty="0" smtClean="0"/>
            <a:t> на </a:t>
          </a:r>
          <a:r>
            <a:rPr lang="ru-RU" sz="900" kern="1200" dirty="0" err="1" smtClean="0"/>
            <a:t>ресурсите</a:t>
          </a:r>
          <a:r>
            <a:rPr lang="ru-RU" sz="900" kern="1200" dirty="0" smtClean="0"/>
            <a:t>»</a:t>
          </a:r>
          <a:endParaRPr lang="bg-BG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kern="1200" dirty="0" smtClean="0"/>
            <a:t>(ноември 2017)</a:t>
          </a:r>
          <a:endParaRPr lang="en-US" sz="900" kern="1200" dirty="0"/>
        </a:p>
      </dsp:txBody>
      <dsp:txXfrm>
        <a:off x="32973" y="3855655"/>
        <a:ext cx="1601910" cy="937805"/>
      </dsp:txXfrm>
    </dsp:sp>
    <dsp:sp modelId="{C975A743-45DC-47AA-8A95-25DAC725EE2B}">
      <dsp:nvSpPr>
        <dsp:cNvPr id="0" name=""/>
        <dsp:cNvSpPr/>
      </dsp:nvSpPr>
      <dsp:spPr>
        <a:xfrm>
          <a:off x="1810162" y="4118685"/>
          <a:ext cx="351975" cy="4117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810162" y="4201034"/>
        <a:ext cx="246383" cy="247047"/>
      </dsp:txXfrm>
    </dsp:sp>
    <dsp:sp modelId="{0718D424-7109-4D32-8439-7E95453F3B46}">
      <dsp:nvSpPr>
        <dsp:cNvPr id="0" name=""/>
        <dsp:cNvSpPr/>
      </dsp:nvSpPr>
      <dsp:spPr>
        <a:xfrm>
          <a:off x="2328164" y="3826479"/>
          <a:ext cx="1892317" cy="996157"/>
        </a:xfrm>
        <a:prstGeom prst="roundRect">
          <a:avLst>
            <a:gd name="adj" fmla="val 10000"/>
          </a:avLst>
        </a:prstGeom>
        <a:solidFill>
          <a:schemeClr val="accent3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10. </a:t>
          </a:r>
          <a:r>
            <a:rPr lang="bg-BG" sz="900" kern="1200" dirty="0" smtClean="0"/>
            <a:t>„Насърчаване на предприемачеството“</a:t>
          </a:r>
          <a:endParaRPr lang="en-US" sz="900" kern="1200" dirty="0" smtClean="0"/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(</a:t>
          </a:r>
          <a:r>
            <a:rPr lang="bg-BG" sz="900" kern="1200" dirty="0" smtClean="0"/>
            <a:t>юни</a:t>
          </a:r>
          <a:r>
            <a:rPr lang="en-US" sz="900" kern="1200" dirty="0" smtClean="0"/>
            <a:t> 2018) </a:t>
          </a:r>
          <a:endParaRPr lang="en-US" sz="900" kern="1200" dirty="0"/>
        </a:p>
      </dsp:txBody>
      <dsp:txXfrm>
        <a:off x="2357340" y="3855655"/>
        <a:ext cx="1833965" cy="9378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19B64F-9BCD-485A-AB3E-ADFB400D23B7}" type="datetimeFigureOut">
              <a:rPr lang="bg-BG" smtClean="0"/>
              <a:t>30.11.2018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3009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A4217E-9463-410E-AD0E-BE8B6BA0810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075342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AAEA210-18EF-EC43-9E25-C769B6E415FC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1241425"/>
            <a:ext cx="4465638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958"/>
            <a:ext cx="533527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889938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30091"/>
            <a:ext cx="2889938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23B6C903-1D9D-6C4E-80DE-9E48782A931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25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6C903-1D9D-6C4E-80DE-9E48782A931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942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41425"/>
            <a:ext cx="4465638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6C903-1D9D-6C4E-80DE-9E48782A931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235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5D9F2C-2761-FA4F-9E64-E09E6068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FA5B440-1C2C-7A4F-8FFE-6505C1BF49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2F0C0F-49B1-1E43-8BFF-DE09C635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85E76CB-B1DA-714C-B6D6-4CCE073EC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F06911C-43DF-A748-AC23-1FDC4ABD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076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5EF13F-44CA-C74A-B118-F49ED2EA8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1330D8-942B-1148-9BFF-78D102BAB8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BF53A61-CA74-7241-8BDF-FDBDA40F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0CF2C3D-F066-7C4E-AC3A-D22246CF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F5E4B6A-3016-E14F-86E3-A3B9EAFA6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988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910B01E-B698-504B-9D9B-A4904E2F4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9DE8895-AECA-0D40-A3B5-087BB188B8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94D449E-4584-5F4B-A63F-6F9D47976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0FE3AF2-2F61-1840-B7C4-1A175A62E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8E75AB-4A64-E04F-8AC4-F16AA36D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052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12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725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947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6582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16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717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10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080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D3EFB-2E69-A549-B016-5E6633C88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A1B0ABE-B242-E64A-A56E-4B3ADD86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D22C31-894C-3D43-A527-73061CB9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E1BF0B-A14E-C54D-9876-0F8843DB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073F512-14FF-B64A-8582-1DD3C3C7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682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055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4484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8898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088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59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8673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9957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288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148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420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A51689-E447-B548-9E05-F24D2FED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7472C8A-D0E8-774D-A298-507593709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B2296EF-E252-CA40-9741-0A96D7D6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4D87639-DEFD-F246-9FDC-3819215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F176B15-4C65-B74C-A508-377612B65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71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3623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9044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6295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5966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0180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130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5387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7086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8015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164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9144A2-B48F-F646-B1CD-5664770C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1696538-652F-B94C-9A6B-27D8FDFBF7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B1525CD-D08B-224C-B126-B42A3426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EAEAA2C-0FCE-E243-A44F-63BBDB983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C990E14-2FBF-1643-9F92-0B583319C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D54EE76-A003-C046-A32B-2EF1FB0A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2646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773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478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417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3911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6273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5D9F2C-2761-FA4F-9E64-E09E6068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FA5B440-1C2C-7A4F-8FFE-6505C1BF49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2F0C0F-49B1-1E43-8BFF-DE09C635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85E76CB-B1DA-714C-B6D6-4CCE073EC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F06911C-43DF-A748-AC23-1FDC4ABD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7159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D3EFB-2E69-A549-B016-5E6633C88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A1B0ABE-B242-E64A-A56E-4B3ADD86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D22C31-894C-3D43-A527-73061CB9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E1BF0B-A14E-C54D-9876-0F8843DB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073F512-14FF-B64A-8582-1DD3C3C7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0127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A51689-E447-B548-9E05-F24D2FED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7472C8A-D0E8-774D-A298-507593709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B2296EF-E252-CA40-9741-0A96D7D6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4D87639-DEFD-F246-9FDC-3819215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F176B15-4C65-B74C-A508-377612B65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4084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9144A2-B48F-F646-B1CD-5664770C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1696538-652F-B94C-9A6B-27D8FDFBF7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B1525CD-D08B-224C-B126-B42A3426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EAEAA2C-0FCE-E243-A44F-63BBDB983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C990E14-2FBF-1643-9F92-0B583319C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D54EE76-A003-C046-A32B-2EF1FB0A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1866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AD594-9191-2342-A528-3E2570889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7D05E7F-55F4-3C47-8102-A56B67E2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245EB1-D745-DA4B-A9E6-B4CE4C8F70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371EB80-84CC-204D-B444-B7F7184C9B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71E75A1-CDCB-A940-AF72-DFB6BDA111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3B16821-A92E-5F45-A4AB-CA07E928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395B1A-26E7-324B-BA7D-4F74A364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E34E943-61D7-5448-B780-D816B11C2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898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AD594-9191-2342-A528-3E2570889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7D05E7F-55F4-3C47-8102-A56B67E2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245EB1-D745-DA4B-A9E6-B4CE4C8F70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371EB80-84CC-204D-B444-B7F7184C9B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71E75A1-CDCB-A940-AF72-DFB6BDA111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3B16821-A92E-5F45-A4AB-CA07E928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395B1A-26E7-324B-BA7D-4F74A364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E34E943-61D7-5448-B780-D816B11C2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5273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2C267C-C7EE-F840-8E01-CD57684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05A6565-DA26-C942-A2DC-3F6B327AC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AE51E03-C7DB-CE41-B8AC-FA068272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A9E54C1-B1F1-454C-8F7C-2E3370F9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1871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D9012A5-5A07-224B-8055-775761741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3585621-5FD9-CA48-B2C7-1F5D6562C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1B6108-BB3F-1541-B04F-E9F884FF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415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DA4DFE-9848-0248-9491-F540ABF5B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21555EB-012B-DA47-AEF7-FB700812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15DE448-D558-674A-874D-F5FB01888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71DE5E9-F287-0A4D-9E48-9A1EA3A8C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3E6C3C-143B-D742-A70C-25FAB57EF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0C5BE72-065C-AE44-BBB2-27D73946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9422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8C7A6E-F283-9746-9F44-BDEF61F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A6FABA29-3A87-804D-89A7-9DC630E540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1E98AC0-B3CD-E942-A44A-BAF076625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AFA5C90-A3A1-014C-A044-49A98351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6514DCE-C881-894F-843B-55651D0E3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F42E1CC-9D57-5843-A12D-21AC3F68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7380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5EF13F-44CA-C74A-B118-F49ED2EA8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1330D8-942B-1148-9BFF-78D102BAB8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BF53A61-CA74-7241-8BDF-FDBDA40F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0CF2C3D-F066-7C4E-AC3A-D22246CF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F5E4B6A-3016-E14F-86E3-A3B9EAFA6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6040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910B01E-B698-504B-9D9B-A4904E2F4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9DE8895-AECA-0D40-A3B5-087BB188B8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94D449E-4584-5F4B-A63F-6F9D47976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0FE3AF2-2F61-1840-B7C4-1A175A62E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8E75AB-4A64-E04F-8AC4-F16AA36D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563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5D9F2C-2761-FA4F-9E64-E09E6068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FA5B440-1C2C-7A4F-8FFE-6505C1BF49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2F0C0F-49B1-1E43-8BFF-DE09C635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85E76CB-B1DA-714C-B6D6-4CCE073EC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F06911C-43DF-A748-AC23-1FDC4ABD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3856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8D3EFB-2E69-A549-B016-5E6633C88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A1B0ABE-B242-E64A-A56E-4B3ADD86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D22C31-894C-3D43-A527-73061CB9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CE1BF0B-A14E-C54D-9876-0F8843DB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073F512-14FF-B64A-8582-1DD3C3C7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2914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A51689-E447-B548-9E05-F24D2FED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7472C8A-D0E8-774D-A298-507593709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B2296EF-E252-CA40-9741-0A96D7D6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4D87639-DEFD-F246-9FDC-3819215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F176B15-4C65-B74C-A508-377612B65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4788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9144A2-B48F-F646-B1CD-5664770C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1696538-652F-B94C-9A6B-27D8FDFBF7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B1525CD-D08B-224C-B126-B42A3426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EAEAA2C-0FCE-E243-A44F-63BBDB983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C990E14-2FBF-1643-9F92-0B583319C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D54EE76-A003-C046-A32B-2EF1FB0A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537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2C267C-C7EE-F840-8E01-CD57684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05A6565-DA26-C942-A2DC-3F6B327AC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AE51E03-C7DB-CE41-B8AC-FA068272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A9E54C1-B1F1-454C-8F7C-2E3370F9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840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0AD594-9191-2342-A528-3E2570889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7D05E7F-55F4-3C47-8102-A56B67E2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245EB1-D745-DA4B-A9E6-B4CE4C8F70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371EB80-84CC-204D-B444-B7F7184C9B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71E75A1-CDCB-A940-AF72-DFB6BDA111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3B16821-A92E-5F45-A4AB-CA07E928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395B1A-26E7-324B-BA7D-4F74A364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E34E943-61D7-5448-B780-D816B11C2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9040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2C267C-C7EE-F840-8E01-CD57684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05A6565-DA26-C942-A2DC-3F6B327AC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AE51E03-C7DB-CE41-B8AC-FA068272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A9E54C1-B1F1-454C-8F7C-2E3370F9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8263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D9012A5-5A07-224B-8055-775761741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3585621-5FD9-CA48-B2C7-1F5D6562C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1B6108-BB3F-1541-B04F-E9F884FF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4254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DA4DFE-9848-0248-9491-F540ABF5B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21555EB-012B-DA47-AEF7-FB700812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15DE448-D558-674A-874D-F5FB01888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71DE5E9-F287-0A4D-9E48-9A1EA3A8C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3E6C3C-143B-D742-A70C-25FAB57EF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0C5BE72-065C-AE44-BBB2-27D73946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745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8C7A6E-F283-9746-9F44-BDEF61F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A6FABA29-3A87-804D-89A7-9DC630E540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1E98AC0-B3CD-E942-A44A-BAF076625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AFA5C90-A3A1-014C-A044-49A98351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6514DCE-C881-894F-843B-55651D0E3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F42E1CC-9D57-5843-A12D-21AC3F68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348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5EF13F-44CA-C74A-B118-F49ED2EA8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1330D8-942B-1148-9BFF-78D102BAB8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BF53A61-CA74-7241-8BDF-FDBDA40F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0CF2C3D-F066-7C4E-AC3A-D22246CF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F5E4B6A-3016-E14F-86E3-A3B9EAFA6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7649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910B01E-B698-504B-9D9B-A4904E2F4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9DE8895-AECA-0D40-A3B5-087BB188B8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94D449E-4584-5F4B-A63F-6F9D47976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0FE3AF2-2F61-1840-B7C4-1A175A62E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8E75AB-4A64-E04F-8AC4-F16AA36D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57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D9012A5-5A07-224B-8055-775761741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3585621-5FD9-CA48-B2C7-1F5D6562C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1B6108-BB3F-1541-B04F-E9F884FF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35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DA4DFE-9848-0248-9491-F540ABF5B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21555EB-012B-DA47-AEF7-FB700812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  <a:lvl2pPr>
              <a:defRPr sz="28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15DE448-D558-674A-874D-F5FB01888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71DE5E9-F287-0A4D-9E48-9A1EA3A8C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3E6C3C-143B-D742-A70C-25FAB57EF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0C5BE72-065C-AE44-BBB2-27D73946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924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8C7A6E-F283-9746-9F44-BDEF61F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A6FABA29-3A87-804D-89A7-9DC630E540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>
                <a:latin typeface="Calibri" panose="020F050202020403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1E98AC0-B3CD-E942-A44A-BAF076625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AFA5C90-A3A1-014C-A044-49A98351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6514DCE-C881-894F-843B-55651D0E3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F42E1CC-9D57-5843-A12D-21AC3F68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829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7DB046A-61B0-1F42-B2CF-05297DAD6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E5F5121-5450-064A-AAE6-630DCF8EF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0B92C0-8086-EE4A-A2FE-0699AA1B2B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5B282F27-0D6A-0949-882A-DCC650A59689}" type="datetimeFigureOut">
              <a:rPr lang="en-US" smtClean="0"/>
              <a:pPr/>
              <a:t>11/30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782D1A4-07EA-CB4F-909D-08592B7E33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32407E1-A42A-2C4A-85AC-7C68EE52F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857E26B-2A79-5242-84AD-55881F9992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814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473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2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2D4E8433-F28D-48FB-9101-4C04905FB85E}" type="datetimeFigureOut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0.11.2018 г.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55BA0D89-6913-4FB6-B765-595CC5E0D1A4}" type="slidenum">
              <a:rPr lang="bg-BG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626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7DB046A-61B0-1F42-B2CF-05297DAD6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E5F5121-5450-064A-AAE6-630DCF8EF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0B92C0-8086-EE4A-A2FE-0699AA1B2B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782D1A4-07EA-CB4F-909D-08592B7E33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32407E1-A42A-2C4A-85AC-7C68EE52F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499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7DB046A-61B0-1F42-B2CF-05297DAD6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E5F5121-5450-064A-AAE6-630DCF8EF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0B92C0-8086-EE4A-A2FE-0699AA1B2B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282F27-0D6A-0949-882A-DCC650A5968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3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782D1A4-07EA-CB4F-909D-08592B7E33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32407E1-A42A-2C4A-85AC-7C68EE52F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7E26B-2A79-5242-84AD-55881F9992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975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8.g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gif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5.png"/><Relationship Id="rId4" Type="http://schemas.openxmlformats.org/officeDocument/2006/relationships/tags" Target="../tags/tag10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0.png"/><Relationship Id="rId4" Type="http://schemas.openxmlformats.org/officeDocument/2006/relationships/tags" Target="../tags/tag22.xml"/><Relationship Id="rId9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0.png"/><Relationship Id="rId4" Type="http://schemas.openxmlformats.org/officeDocument/2006/relationships/tags" Target="../tags/tag29.xml"/><Relationship Id="rId9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0.png"/><Relationship Id="rId4" Type="http://schemas.openxmlformats.org/officeDocument/2006/relationships/tags" Target="../tags/tag36.xml"/><Relationship Id="rId9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hyperlink" Target="http://www.opic.bg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package" Target="../embeddings/Microsoft_Word_Document1.docx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package" Target="../embeddings/Microsoft_Word_Document2.docx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854" y="2364419"/>
            <a:ext cx="9144000" cy="1512168"/>
          </a:xfrm>
        </p:spPr>
        <p:txBody>
          <a:bodyPr>
            <a:normAutofit fontScale="90000"/>
          </a:bodyPr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>Напредък в изпълнението на </a:t>
            </a: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 “Иновации и конкурентоспособност“ 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 и предстоящи за обявяване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 процедури</a:t>
            </a:r>
            <a:endParaRPr lang="bg-BG" sz="3200" dirty="0">
              <a:solidFill>
                <a:srgbClr val="00206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9350" y="18005"/>
            <a:ext cx="8075413" cy="1972851"/>
            <a:chOff x="773899" y="18005"/>
            <a:chExt cx="8075413" cy="1972851"/>
          </a:xfrm>
        </p:grpSpPr>
        <p:grpSp>
          <p:nvGrpSpPr>
            <p:cNvPr id="4" name="Group 3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1" name="Picture 10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4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395534" y="3876587"/>
            <a:ext cx="8568953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1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</a:endParaRPr>
          </a:p>
          <a:p>
            <a:pPr algn="ctr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Съвместн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 заседание на РСР и РКК на </a:t>
            </a:r>
            <a:endParaRPr lang="ru-RU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ЮГОЗАПАДЕН РАЙОН</a:t>
            </a: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</a:endParaRPr>
          </a:p>
          <a:p>
            <a:pPr algn="ctr"/>
            <a:r>
              <a:rPr lang="bg-BG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гр. Рила, 30 ноември</a:t>
            </a:r>
            <a:r>
              <a:rPr lang="ru-RU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 2018 </a:t>
            </a:r>
            <a:r>
              <a:rPr lang="ru-RU" sz="20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г. </a:t>
            </a:r>
            <a:r>
              <a:rPr lang="ru-RU" sz="2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ГД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„Европейски фондове за конкурентоспособност“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</a:rPr>
              <a:t>Министерство на икономиката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3692BD3-F972-364A-9A6F-D160D5648FE7}"/>
              </a:ext>
            </a:extLst>
          </p:cNvPr>
          <p:cNvSpPr/>
          <p:nvPr/>
        </p:nvSpPr>
        <p:spPr>
          <a:xfrm>
            <a:off x="570113" y="3969234"/>
            <a:ext cx="832465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36779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1640" y="1988840"/>
            <a:ext cx="6512511" cy="1143000"/>
          </a:xfrm>
        </p:spPr>
        <p:txBody>
          <a:bodyPr>
            <a:normAutofit/>
          </a:bodyPr>
          <a:lstStyle/>
          <a:p>
            <a:pPr marL="45720" indent="0" algn="ctr">
              <a:spcBef>
                <a:spcPct val="20000"/>
              </a:spcBef>
              <a:spcAft>
                <a:spcPts val="300"/>
              </a:spcAft>
              <a:buSzPct val="130000"/>
              <a:buNone/>
            </a:pPr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n-lt"/>
                <a:ea typeface="Tahoma" pitchFamily="34" charset="0"/>
                <a:cs typeface="Tahoma" pitchFamily="34" charset="0"/>
              </a:rPr>
              <a:t>ПРЕДСТОЯЩИ ЗА ОБЯВЯВАНЕ ПРОЦЕДУРИ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8443" y="3712509"/>
            <a:ext cx="1540033" cy="1455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96990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63052" y="1023582"/>
            <a:ext cx="8599488" cy="5667690"/>
            <a:chOff x="250825" y="826139"/>
            <a:chExt cx="8599488" cy="5667690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5"/>
              <a:ext cx="8599488" cy="1001434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500" b="1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цел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добряване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изводствените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цеси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вишаване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изводствения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пацитет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 цел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засилване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експортния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потенциал на </a:t>
              </a:r>
              <a:r>
                <a:rPr lang="ru-RU" sz="15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едприятията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15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юджет: </a:t>
              </a:r>
              <a:r>
                <a:rPr lang="ru-RU" sz="15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75 млн. евро (146 </a:t>
              </a:r>
              <a:r>
                <a:rPr lang="ru-RU" sz="15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87 250 </a:t>
              </a:r>
              <a:r>
                <a:rPr lang="ru-RU" sz="15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ева)</a:t>
              </a:r>
              <a:endParaRPr lang="ru-RU" sz="15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endParaRPr lang="ru-RU" sz="15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0825" y="826139"/>
              <a:ext cx="8599487" cy="643496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Процедура „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одобряване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на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роизводствения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капацитет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в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малките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и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средни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2000" b="1" dirty="0" smtClean="0">
                  <a:solidFill>
                    <a:schemeClr val="bg1"/>
                  </a:solidFill>
                  <a:latin typeface="+mj-lt"/>
                </a:rPr>
                <a:t>предприятия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060825" cy="3123727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опустими кандидати: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ъществуващи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СП, </a:t>
              </a:r>
              <a:endParaRPr lang="ru-RU" sz="16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ито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а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търговци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мисъла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Търговския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закон или 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Закона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за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операциите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ли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а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еквивалентно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лице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мисъла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законодателството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ържава-членка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Европейското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кономическо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пространство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600" b="1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опустими дейности</a:t>
              </a:r>
              <a:r>
                <a:rPr lang="bg-BG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9"/>
                </a:buBlip>
                <a:defRPr/>
              </a:pP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ейности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за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добряване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на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изводствения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пацитет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;</a:t>
              </a:r>
              <a:endParaRPr lang="ru-RU" sz="16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10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10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1" y="3370103"/>
              <a:ext cx="4062413" cy="3123726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9"/>
                </a:buBlip>
                <a:defRPr/>
              </a:pPr>
              <a:r>
                <a:rPr lang="ru-RU" sz="16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Инвестиционни</a:t>
              </a:r>
              <a:r>
                <a:rPr lang="ru-RU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6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разходи</a:t>
              </a:r>
              <a:r>
                <a:rPr lang="ru-RU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(ДМА и ДНА)</a:t>
              </a:r>
              <a:endParaRPr lang="ru-RU" sz="16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Минимален размер на </a:t>
              </a:r>
              <a:r>
                <a:rPr lang="ru-RU" sz="1600" b="1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помощта</a:t>
              </a: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:</a:t>
              </a:r>
              <a:r>
                <a:rPr lang="ru-RU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600" dirty="0">
                  <a:solidFill>
                    <a:srgbClr val="002060"/>
                  </a:solidFill>
                  <a:latin typeface="Calibri" panose="020F0502020204030204" pitchFamily="34" charset="0"/>
                </a:rPr>
                <a:t>100 000 </a:t>
              </a:r>
              <a:r>
                <a:rPr lang="ru-RU" sz="16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лв</a:t>
              </a:r>
              <a:r>
                <a:rPr lang="ru-RU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Максимален размер на </a:t>
              </a:r>
              <a:r>
                <a:rPr lang="ru-RU" sz="1600" b="1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помощта</a:t>
              </a: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: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6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600" dirty="0">
                  <a:solidFill>
                    <a:srgbClr val="002060"/>
                  </a:solidFill>
                  <a:latin typeface="Calibri" panose="020F0502020204030204" pitchFamily="34" charset="0"/>
                </a:rPr>
                <a:t>1 000 000 </a:t>
              </a:r>
              <a:r>
                <a:rPr lang="ru-RU" sz="16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лв</a:t>
              </a:r>
              <a:r>
                <a:rPr lang="ru-RU" sz="1600" dirty="0">
                  <a:solidFill>
                    <a:srgbClr val="002060"/>
                  </a:solidFill>
                  <a:latin typeface="Calibri" panose="020F0502020204030204" pitchFamily="34" charset="0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ата на </a:t>
              </a:r>
              <a:r>
                <a:rPr lang="ru-RU" sz="1600" b="1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обявяване</a:t>
              </a:r>
              <a:r>
                <a:rPr lang="ru-RU" sz="16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:</a:t>
              </a:r>
              <a:r>
                <a:rPr lang="ru-RU" sz="1600" b="1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600" b="1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ноември</a:t>
              </a:r>
              <a:r>
                <a:rPr lang="ru-RU" sz="1600" b="1" dirty="0">
                  <a:solidFill>
                    <a:srgbClr val="002060"/>
                  </a:solidFill>
                  <a:latin typeface="Calibri" panose="020F0502020204030204" pitchFamily="34" charset="0"/>
                </a:rPr>
                <a:t> 2018 г. 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6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10"/>
                </a:buBlip>
                <a:defRPr/>
              </a:pPr>
              <a:endParaRPr lang="en-US" sz="16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075113" cy="576065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0601" y="2794035"/>
              <a:ext cx="4062414" cy="576067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Calibri Light"/>
                <a:cs typeface="Calibri" panose="020F0502020204030204" pitchFamily="34" charset="0"/>
              </a:endParaRPr>
            </a:p>
          </p:txBody>
        </p:sp>
      </p:grpSp>
      <p:cxnSp>
        <p:nvCxnSpPr>
          <p:cNvPr id="14" name="Straight Connector 13"/>
          <p:cNvCxnSpPr/>
          <p:nvPr/>
        </p:nvCxnSpPr>
        <p:spPr>
          <a:xfrm>
            <a:off x="4762681" y="4102027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64286" y="-6987"/>
            <a:ext cx="979714" cy="925917"/>
          </a:xfrm>
          <a:prstGeom prst="rect">
            <a:avLst/>
          </a:prstGeom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291392" y="94508"/>
            <a:ext cx="7872893" cy="76931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ирани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дури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 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 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. в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ПО 2 „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приемачество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пацитет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теж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МСП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 1/2</a:t>
            </a:r>
            <a:endParaRPr lang="ru-RU" sz="2400" b="1" dirty="0">
              <a:solidFill>
                <a:srgbClr val="031B8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743890" y="5687442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393838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5720" y="928670"/>
            <a:ext cx="8605839" cy="5689201"/>
            <a:chOff x="244475" y="921260"/>
            <a:chExt cx="8605839" cy="568920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44475" y="1564202"/>
              <a:ext cx="8599488" cy="820348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сновна</a:t>
              </a:r>
              <a:r>
                <a:rPr lang="ru-RU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цел: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едоставяне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дкрепа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за 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звитие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новационни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лъстери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в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ългария</a:t>
              </a:r>
              <a:r>
                <a:rPr lang="bg-BG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ru-RU" sz="16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юджет:</a:t>
              </a:r>
              <a:r>
                <a:rPr lang="ru-RU" sz="16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.3  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лн</a:t>
              </a:r>
              <a:r>
                <a:rPr lang="ru-RU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r>
                <a:rPr lang="ru-RU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евро </a:t>
              </a:r>
              <a:r>
                <a:rPr lang="en-US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bg-BG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9 </a:t>
              </a:r>
              <a:r>
                <a:rPr lang="bg-BG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24 199 </a:t>
              </a:r>
              <a:r>
                <a:rPr lang="bg-BG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в</a:t>
              </a:r>
              <a:r>
                <a:rPr lang="bg-BG" sz="16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r>
                <a:rPr lang="en-US" sz="16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  <a:endParaRPr lang="ru-RU" sz="16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21260"/>
              <a:ext cx="8599488" cy="634963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Процедура „</a:t>
              </a:r>
              <a:r>
                <a:rPr lang="bg-BG" sz="2000" b="1" dirty="0">
                  <a:solidFill>
                    <a:schemeClr val="bg1"/>
                  </a:solidFill>
                  <a:latin typeface="+mj-lt"/>
                </a:rPr>
                <a:t>Развитие на иновационни </a:t>
              </a:r>
              <a:r>
                <a:rPr lang="bg-BG" sz="2000" b="1" dirty="0" smtClean="0">
                  <a:solidFill>
                    <a:schemeClr val="bg1"/>
                  </a:solidFill>
                  <a:latin typeface="+mj-lt"/>
                </a:rPr>
                <a:t>клъстери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271168" cy="3240359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опустими кандидати: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ъществуващи</a:t>
              </a:r>
              <a:r>
                <a:rPr lang="ru-RU" sz="14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новационни</a:t>
              </a:r>
              <a:r>
                <a:rPr lang="ru-RU" sz="14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лъстери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- юридически лица или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не </a:t>
              </a:r>
              <a:r>
                <a:rPr lang="ru-RU" sz="1400" kern="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едставляват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юридически </a:t>
              </a:r>
              <a:r>
                <a:rPr lang="ru-RU" sz="14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лица.</a:t>
              </a:r>
              <a:endParaRPr lang="ru-RU" sz="14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подобряване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сътрудничеството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, обмена на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информация в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на бизнеса и трансфера на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технологии;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по маркетинг на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клъстера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с цел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увеличаване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участието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на нови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предприятия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или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организации;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организиране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програми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за обучение,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семинари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и конференции в </a:t>
              </a: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подкрепа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на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обмена на знания и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работата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в мрежа, и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транснационално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сътрудничество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400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42245" y="3370103"/>
              <a:ext cx="4180769" cy="3240358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за ДМА и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НА;</a:t>
              </a: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персонал;</a:t>
              </a: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Админист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(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включително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режийни</a:t>
              </a:r>
              <a:r>
                <a:rPr lang="ru-RU" sz="1400" dirty="0">
                  <a:solidFill>
                    <a:srgbClr val="002060"/>
                  </a:solidFill>
                  <a:latin typeface="Calibri" panose="020F0502020204030204" pitchFamily="34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Calibri" panose="020F0502020204030204" pitchFamily="34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).</a:t>
              </a: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 smtClean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Мин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200 000 лв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Макс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 1 500 000 лв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Calibri" panose="020F0502020204030204" pitchFamily="34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Calibri" panose="020F0502020204030204" pitchFamily="34" charset="0"/>
                </a:rPr>
                <a:t>Дата на обявяване: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екември</a:t>
              </a:r>
              <a:r>
                <a:rPr lang="ru-RU" sz="1400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2018 г</a:t>
              </a:r>
              <a:r>
                <a:rPr lang="ru-RU" sz="1400" kern="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285456" cy="576065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642246" y="2794035"/>
              <a:ext cx="4208068" cy="576067"/>
            </a:xfrm>
            <a:prstGeom prst="rect">
              <a:avLst/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73301" y="2421458"/>
              <a:ext cx="4786312" cy="287337"/>
            </a:xfrm>
            <a:prstGeom prst="triangle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Calibri Light"/>
                <a:cs typeface="Calibri" panose="020F0502020204030204" pitchFamily="34" charset="0"/>
              </a:endParaRPr>
            </a:p>
          </p:txBody>
        </p:sp>
      </p:grpSp>
      <p:cxnSp>
        <p:nvCxnSpPr>
          <p:cNvPr id="14" name="Straight Connector 13"/>
          <p:cNvCxnSpPr/>
          <p:nvPr/>
        </p:nvCxnSpPr>
        <p:spPr>
          <a:xfrm>
            <a:off x="4644007" y="4725144"/>
            <a:ext cx="41807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285720" y="119112"/>
            <a:ext cx="7336786" cy="76931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>
                <a:solidFill>
                  <a:srgbClr val="031B81"/>
                </a:solidFill>
              </a:rPr>
              <a:t>Планирани</a:t>
            </a:r>
            <a:r>
              <a:rPr lang="ru-RU" sz="2400" b="1" dirty="0">
                <a:solidFill>
                  <a:srgbClr val="031B81"/>
                </a:solidFill>
              </a:rPr>
              <a:t> </a:t>
            </a:r>
            <a:r>
              <a:rPr lang="ru-RU" sz="2400" b="1" dirty="0" err="1">
                <a:solidFill>
                  <a:srgbClr val="031B81"/>
                </a:solidFill>
              </a:rPr>
              <a:t>процедури</a:t>
            </a:r>
            <a:r>
              <a:rPr lang="ru-RU" sz="2400" b="1" dirty="0">
                <a:solidFill>
                  <a:srgbClr val="031B81"/>
                </a:solidFill>
              </a:rPr>
              <a:t> за </a:t>
            </a:r>
            <a:r>
              <a:rPr lang="ru-RU" sz="2400" b="1" dirty="0" smtClean="0">
                <a:solidFill>
                  <a:srgbClr val="031B81"/>
                </a:solidFill>
              </a:rPr>
              <a:t>2018 </a:t>
            </a:r>
            <a:r>
              <a:rPr lang="ru-RU" sz="2400" b="1" dirty="0">
                <a:solidFill>
                  <a:srgbClr val="031B81"/>
                </a:solidFill>
              </a:rPr>
              <a:t>г. в </a:t>
            </a:r>
            <a:r>
              <a:rPr lang="ru-RU" sz="2400" b="1" dirty="0" err="1">
                <a:solidFill>
                  <a:srgbClr val="031B81"/>
                </a:solidFill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</a:rPr>
              <a:t> на ПО 1 „Технологично развитие и </a:t>
            </a:r>
            <a:r>
              <a:rPr lang="ru-RU" sz="2400" b="1" dirty="0" err="1">
                <a:solidFill>
                  <a:srgbClr val="031B81"/>
                </a:solidFill>
              </a:rPr>
              <a:t>иновации</a:t>
            </a:r>
            <a:r>
              <a:rPr lang="ru-RU" sz="2400" b="1" dirty="0" smtClean="0">
                <a:solidFill>
                  <a:srgbClr val="031B81"/>
                </a:solidFill>
              </a:rPr>
              <a:t>“ 2/2</a:t>
            </a:r>
            <a:endParaRPr lang="ru-RU" sz="2400" b="1" dirty="0">
              <a:solidFill>
                <a:srgbClr val="031B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64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0363" y="1023116"/>
            <a:ext cx="8272130" cy="649224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bg-BG" b="1" dirty="0">
              <a:solidFill>
                <a:srgbClr val="031B81"/>
              </a:solidFill>
              <a:latin typeface="Trebuchet MS" panose="020B0603020202020204" pitchFamily="34" charset="0"/>
            </a:endParaRPr>
          </a:p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bg-BG" b="1" dirty="0" smtClean="0">
              <a:solidFill>
                <a:srgbClr val="031B81"/>
              </a:solidFill>
              <a:latin typeface="Trebuchet MS" panose="020B0603020202020204" pitchFamily="34" charset="0"/>
            </a:endParaRPr>
          </a:p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bg-BG" b="1" dirty="0" smtClean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„</a:t>
            </a:r>
            <a:r>
              <a:rPr lang="ru-RU" b="1" dirty="0" err="1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имулиране</a:t>
            </a:r>
            <a:r>
              <a:rPr lang="ru-RU" b="1" dirty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1" dirty="0" err="1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недряването</a:t>
            </a:r>
            <a:r>
              <a:rPr lang="ru-RU" b="1" dirty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на </a:t>
            </a:r>
            <a:r>
              <a:rPr lang="ru-RU" b="1" dirty="0" err="1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овации</a:t>
            </a:r>
            <a:r>
              <a:rPr lang="ru-RU" b="1" dirty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от </a:t>
            </a:r>
            <a:r>
              <a:rPr lang="ru-RU" b="1" dirty="0" err="1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ъществуващи</a:t>
            </a:r>
            <a:r>
              <a:rPr lang="ru-RU" b="1" dirty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1" dirty="0" err="1" smtClean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приятията</a:t>
            </a:r>
            <a:r>
              <a:rPr lang="bg-BG" b="1" dirty="0" smtClean="0">
                <a:solidFill>
                  <a:srgbClr val="031B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</a:t>
            </a:r>
          </a:p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31B81"/>
                </a:solidFill>
                <a:latin typeface="Trebuchet MS" panose="020B0603020202020204" pitchFamily="34" charset="0"/>
              </a:rPr>
              <a:t/>
            </a:r>
            <a:br>
              <a:rPr lang="ru-RU" b="1" dirty="0">
                <a:solidFill>
                  <a:srgbClr val="031B81"/>
                </a:solidFill>
                <a:latin typeface="Trebuchet MS" panose="020B0603020202020204" pitchFamily="34" charset="0"/>
              </a:rPr>
            </a:br>
            <a:endParaRPr lang="en-US" b="1" dirty="0">
              <a:solidFill>
                <a:srgbClr val="031B81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3033788" y="2434856"/>
            <a:ext cx="3437095" cy="320620"/>
          </a:xfrm>
          <a:prstGeom prst="triangl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Trebuchet MS" panose="020B060302020202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10363" y="3105312"/>
            <a:ext cx="3880884" cy="340467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400" b="1" dirty="0" smtClean="0">
                <a:solidFill>
                  <a:srgbClr val="002060"/>
                </a:solidFill>
              </a:rPr>
              <a:t>Допустими кандидати: </a:t>
            </a:r>
            <a:r>
              <a:rPr lang="ru-RU" sz="1400" dirty="0" err="1" smtClean="0">
                <a:solidFill>
                  <a:srgbClr val="002060"/>
                </a:solidFill>
              </a:rPr>
              <a:t>Съществуващи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предприятия, </a:t>
            </a:r>
            <a:r>
              <a:rPr lang="ru-RU" sz="1400" dirty="0" err="1" smtClean="0">
                <a:solidFill>
                  <a:srgbClr val="002060"/>
                </a:solidFill>
              </a:rPr>
              <a:t>които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 err="1">
                <a:solidFill>
                  <a:srgbClr val="002060"/>
                </a:solidFill>
              </a:rPr>
              <a:t>са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</a:rPr>
              <a:t>търговци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по </a:t>
            </a:r>
            <a:r>
              <a:rPr lang="ru-RU" sz="1400" dirty="0" err="1" smtClean="0">
                <a:solidFill>
                  <a:srgbClr val="002060"/>
                </a:solidFill>
              </a:rPr>
              <a:t>смисъла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на </a:t>
            </a:r>
            <a:r>
              <a:rPr lang="ru-RU" sz="1400" dirty="0" smtClean="0">
                <a:solidFill>
                  <a:srgbClr val="002060"/>
                </a:solidFill>
              </a:rPr>
              <a:t>ТЗ или Закона </a:t>
            </a:r>
            <a:r>
              <a:rPr lang="ru-RU" sz="1400" dirty="0">
                <a:solidFill>
                  <a:srgbClr val="002060"/>
                </a:solidFill>
              </a:rPr>
              <a:t>за </a:t>
            </a:r>
            <a:r>
              <a:rPr lang="ru-RU" sz="1400" dirty="0" err="1" smtClean="0">
                <a:solidFill>
                  <a:srgbClr val="002060"/>
                </a:solidFill>
              </a:rPr>
              <a:t>кооперациите</a:t>
            </a:r>
            <a:r>
              <a:rPr lang="ru-RU" sz="1400" dirty="0" smtClean="0">
                <a:solidFill>
                  <a:srgbClr val="002060"/>
                </a:solidFill>
              </a:rPr>
              <a:t> или </a:t>
            </a:r>
            <a:r>
              <a:rPr lang="ru-RU" sz="1400" dirty="0" err="1">
                <a:solidFill>
                  <a:srgbClr val="002060"/>
                </a:solidFill>
              </a:rPr>
              <a:t>са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</a:rPr>
              <a:t>еквивалентно</a:t>
            </a:r>
            <a:r>
              <a:rPr lang="ru-RU" sz="1400" dirty="0" smtClean="0">
                <a:solidFill>
                  <a:srgbClr val="002060"/>
                </a:solidFill>
              </a:rPr>
              <a:t> лице </a:t>
            </a:r>
            <a:r>
              <a:rPr lang="ru-RU" sz="1400" dirty="0">
                <a:solidFill>
                  <a:srgbClr val="002060"/>
                </a:solidFill>
              </a:rPr>
              <a:t>по </a:t>
            </a:r>
            <a:r>
              <a:rPr lang="ru-RU" sz="1400" dirty="0" err="1" smtClean="0">
                <a:solidFill>
                  <a:srgbClr val="002060"/>
                </a:solidFill>
              </a:rPr>
              <a:t>смисъла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на </a:t>
            </a:r>
            <a:r>
              <a:rPr lang="ru-RU" sz="1400" dirty="0" err="1" smtClean="0">
                <a:solidFill>
                  <a:srgbClr val="002060"/>
                </a:solidFill>
              </a:rPr>
              <a:t>законодателството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на </a:t>
            </a:r>
            <a:r>
              <a:rPr lang="ru-RU" sz="1400" dirty="0" err="1" smtClean="0">
                <a:solidFill>
                  <a:srgbClr val="002060"/>
                </a:solidFill>
              </a:rPr>
              <a:t>държава-членка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на </a:t>
            </a:r>
            <a:r>
              <a:rPr lang="ru-RU" sz="1400" dirty="0" err="1" smtClean="0">
                <a:solidFill>
                  <a:srgbClr val="002060"/>
                </a:solidFill>
              </a:rPr>
              <a:t>Европейското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</a:rPr>
              <a:t>икономическо</a:t>
            </a:r>
            <a:r>
              <a:rPr lang="ru-RU" sz="1400" dirty="0" smtClean="0">
                <a:solidFill>
                  <a:srgbClr val="002060"/>
                </a:solidFill>
              </a:rPr>
              <a:t> пространство.</a:t>
            </a: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400" b="1" dirty="0" smtClean="0">
                <a:solidFill>
                  <a:srgbClr val="002060"/>
                </a:solidFill>
              </a:rPr>
              <a:t>Допустими дейности: </a:t>
            </a: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</a:rPr>
              <a:t>Придобиване на ДМА, необходими за </a:t>
            </a:r>
            <a:r>
              <a:rPr lang="ru-RU" sz="1400" dirty="0" err="1">
                <a:solidFill>
                  <a:srgbClr val="002060"/>
                </a:solidFill>
              </a:rPr>
              <a:t>внедряване</a:t>
            </a:r>
            <a:r>
              <a:rPr lang="ru-RU" sz="1400" dirty="0">
                <a:solidFill>
                  <a:srgbClr val="002060"/>
                </a:solidFill>
              </a:rPr>
              <a:t> на </a:t>
            </a:r>
            <a:r>
              <a:rPr lang="ru-RU" sz="1400" dirty="0" err="1" smtClean="0">
                <a:solidFill>
                  <a:srgbClr val="002060"/>
                </a:solidFill>
              </a:rPr>
              <a:t>иновацията</a:t>
            </a:r>
            <a:r>
              <a:rPr lang="ru-RU" sz="1400" dirty="0">
                <a:solidFill>
                  <a:srgbClr val="002060"/>
                </a:solidFill>
              </a:rPr>
              <a:t>;</a:t>
            </a: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</a:rPr>
              <a:t>Придобиване на ДНА, необходими за </a:t>
            </a:r>
            <a:r>
              <a:rPr lang="ru-RU" sz="1400" dirty="0" err="1">
                <a:solidFill>
                  <a:srgbClr val="002060"/>
                </a:solidFill>
              </a:rPr>
              <a:t>внедряване</a:t>
            </a:r>
            <a:r>
              <a:rPr lang="ru-RU" sz="1400" dirty="0">
                <a:solidFill>
                  <a:srgbClr val="002060"/>
                </a:solidFill>
              </a:rPr>
              <a:t> на </a:t>
            </a:r>
            <a:r>
              <a:rPr lang="ru-RU" sz="1400" dirty="0" err="1" smtClean="0">
                <a:solidFill>
                  <a:srgbClr val="002060"/>
                </a:solidFill>
              </a:rPr>
              <a:t>иновацията</a:t>
            </a:r>
            <a:r>
              <a:rPr lang="ru-RU" sz="1400" dirty="0" smtClean="0">
                <a:solidFill>
                  <a:srgbClr val="002060"/>
                </a:solidFill>
              </a:rPr>
              <a:t>;</a:t>
            </a:r>
            <a:endParaRPr lang="ru-RU" sz="1400" dirty="0">
              <a:solidFill>
                <a:srgbClr val="002060"/>
              </a:solidFill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400" dirty="0" err="1">
                <a:solidFill>
                  <a:srgbClr val="002060"/>
                </a:solidFill>
              </a:rPr>
              <a:t>Консултантски</a:t>
            </a:r>
            <a:r>
              <a:rPr lang="ru-RU" sz="1400" dirty="0">
                <a:solidFill>
                  <a:srgbClr val="002060"/>
                </a:solidFill>
              </a:rPr>
              <a:t> и </a:t>
            </a:r>
            <a:r>
              <a:rPr lang="ru-RU" sz="1400" dirty="0" err="1">
                <a:solidFill>
                  <a:srgbClr val="002060"/>
                </a:solidFill>
              </a:rPr>
              <a:t>помощни</a:t>
            </a:r>
            <a:r>
              <a:rPr lang="ru-RU" sz="1400" dirty="0">
                <a:solidFill>
                  <a:srgbClr val="002060"/>
                </a:solidFill>
              </a:rPr>
              <a:t> услуги в подкрепа на </a:t>
            </a:r>
            <a:r>
              <a:rPr lang="ru-RU" sz="1400" dirty="0" err="1" smtClean="0">
                <a:solidFill>
                  <a:srgbClr val="002060"/>
                </a:solidFill>
              </a:rPr>
              <a:t>иновациите</a:t>
            </a:r>
            <a:r>
              <a:rPr lang="ru-RU" sz="1400" dirty="0" smtClean="0">
                <a:solidFill>
                  <a:srgbClr val="002060"/>
                </a:solidFill>
              </a:rPr>
              <a:t>.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265112" lvl="1" defTabSz="912813" eaLnBrk="0" hangingPunct="0">
              <a:lnSpc>
                <a:spcPct val="90000"/>
              </a:lnSpc>
              <a:spcBef>
                <a:spcPts val="600"/>
              </a:spcBef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Trebuchet MS" panose="020B0603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1097" y="3105312"/>
            <a:ext cx="3721395" cy="340466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002060"/>
                </a:solidFill>
              </a:rPr>
              <a:t>Инвестиционни</a:t>
            </a:r>
            <a:r>
              <a:rPr lang="ru-RU" sz="1400" dirty="0">
                <a:solidFill>
                  <a:srgbClr val="002060"/>
                </a:solidFill>
              </a:rPr>
              <a:t> разходи (ДМА и </a:t>
            </a:r>
            <a:r>
              <a:rPr lang="ru-RU" sz="1400" dirty="0" smtClean="0">
                <a:solidFill>
                  <a:srgbClr val="002060"/>
                </a:solidFill>
              </a:rPr>
              <a:t>ДНА)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Разходи </a:t>
            </a:r>
            <a:r>
              <a:rPr lang="ru-RU" sz="1400" dirty="0">
                <a:solidFill>
                  <a:srgbClr val="002060"/>
                </a:solidFill>
              </a:rPr>
              <a:t>за </a:t>
            </a:r>
            <a:r>
              <a:rPr lang="ru-RU" sz="1400" dirty="0" smtClean="0">
                <a:solidFill>
                  <a:srgbClr val="002060"/>
                </a:solidFill>
              </a:rPr>
              <a:t>услуги</a:t>
            </a:r>
            <a:endParaRPr lang="ru-RU" sz="1400" dirty="0">
              <a:solidFill>
                <a:srgbClr val="002060"/>
              </a:solidFill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</a:rPr>
              <a:t>Минимален размер на помощта: </a:t>
            </a:r>
            <a:r>
              <a:rPr lang="ru-RU" sz="1400" dirty="0" smtClean="0">
                <a:solidFill>
                  <a:srgbClr val="002060"/>
                </a:solidFill>
              </a:rPr>
              <a:t>100 000 лв.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b="1" dirty="0" smtClean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</a:rPr>
              <a:t>Максимален размер на помощта: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-микро </a:t>
            </a:r>
            <a:r>
              <a:rPr lang="ru-RU" sz="1400" dirty="0">
                <a:solidFill>
                  <a:srgbClr val="002060"/>
                </a:solidFill>
              </a:rPr>
              <a:t>и малки </a:t>
            </a:r>
            <a:r>
              <a:rPr lang="ru-RU" sz="1400" dirty="0" smtClean="0">
                <a:solidFill>
                  <a:srgbClr val="002060"/>
                </a:solidFill>
              </a:rPr>
              <a:t>предприятия: 500 </a:t>
            </a:r>
            <a:r>
              <a:rPr lang="ru-RU" sz="1400" dirty="0">
                <a:solidFill>
                  <a:srgbClr val="002060"/>
                </a:solidFill>
              </a:rPr>
              <a:t>000 лв</a:t>
            </a:r>
            <a:r>
              <a:rPr lang="ru-RU" sz="1400" dirty="0" smtClean="0">
                <a:solidFill>
                  <a:srgbClr val="002060"/>
                </a:solidFill>
              </a:rPr>
              <a:t>.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>
                <a:solidFill>
                  <a:srgbClr val="002060"/>
                </a:solidFill>
              </a:rPr>
              <a:t>-</a:t>
            </a:r>
            <a:r>
              <a:rPr lang="ru-RU" sz="1400" dirty="0" err="1">
                <a:solidFill>
                  <a:srgbClr val="002060"/>
                </a:solidFill>
              </a:rPr>
              <a:t>средни</a:t>
            </a:r>
            <a:r>
              <a:rPr lang="ru-RU" sz="1400" dirty="0">
                <a:solidFill>
                  <a:srgbClr val="002060"/>
                </a:solidFill>
              </a:rPr>
              <a:t> предприятия: 750 000 лв</a:t>
            </a:r>
            <a:r>
              <a:rPr lang="ru-RU" sz="1400" dirty="0" smtClean="0">
                <a:solidFill>
                  <a:srgbClr val="002060"/>
                </a:solidFill>
              </a:rPr>
              <a:t>.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>
                <a:solidFill>
                  <a:srgbClr val="002060"/>
                </a:solidFill>
              </a:rPr>
              <a:t>-</a:t>
            </a:r>
            <a:r>
              <a:rPr lang="ru-RU" sz="1400" dirty="0" err="1">
                <a:solidFill>
                  <a:srgbClr val="002060"/>
                </a:solidFill>
              </a:rPr>
              <a:t>големи</a:t>
            </a:r>
            <a:r>
              <a:rPr lang="ru-RU" sz="1400" dirty="0">
                <a:solidFill>
                  <a:srgbClr val="002060"/>
                </a:solidFill>
              </a:rPr>
              <a:t> предприятия: 1 000 000 лв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 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</a:rPr>
              <a:t>Дата на </a:t>
            </a:r>
            <a:r>
              <a:rPr lang="ru-RU" sz="1400" b="1" dirty="0" err="1" smtClean="0">
                <a:solidFill>
                  <a:srgbClr val="002060"/>
                </a:solidFill>
              </a:rPr>
              <a:t>обявяване</a:t>
            </a:r>
            <a:r>
              <a:rPr lang="ru-RU" sz="1400" b="1" dirty="0" smtClean="0">
                <a:solidFill>
                  <a:srgbClr val="002060"/>
                </a:solidFill>
              </a:rPr>
              <a:t>: </a:t>
            </a:r>
            <a:r>
              <a:rPr lang="bg-BG" sz="1400" dirty="0" smtClean="0">
                <a:solidFill>
                  <a:srgbClr val="002060"/>
                </a:solidFill>
              </a:rPr>
              <a:t>юни</a:t>
            </a:r>
            <a:r>
              <a:rPr lang="ru-RU" sz="1400" dirty="0" smtClean="0">
                <a:solidFill>
                  <a:srgbClr val="002060"/>
                </a:solidFill>
              </a:rPr>
              <a:t> 2019 г. 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Trebuchet MS" panose="020B060302020202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10363" y="2755475"/>
            <a:ext cx="3880884" cy="349837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61098" y="2755475"/>
            <a:ext cx="3721394" cy="349838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cs typeface="Calibri" panose="020F0502020204030204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510363" y="145377"/>
            <a:ext cx="7436153" cy="74516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ирани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 err="1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дури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 2019 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ПО 1 „Технологично развитие и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овации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(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/5)</a:t>
            </a:r>
            <a:endParaRPr lang="ru-RU" sz="2400" b="1" dirty="0">
              <a:solidFill>
                <a:srgbClr val="031B8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0363" y="1672340"/>
            <a:ext cx="8272130" cy="76251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300" b="1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а</a:t>
            </a:r>
            <a:r>
              <a:rPr lang="ru-RU" sz="1300" b="1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цел: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оставяне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окусирана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крепа на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ъществуващи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едприятия за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едряване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овации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ока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омагане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sz="1300" kern="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а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комерсиализация на нови продукти и услуги</a:t>
            </a:r>
            <a:r>
              <a:rPr lang="ru-RU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300" b="1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</a:t>
            </a:r>
            <a:r>
              <a:rPr lang="ru-RU" sz="1300" b="1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 </a:t>
            </a:r>
            <a:r>
              <a:rPr lang="ru-RU" sz="1300" kern="0" dirty="0" err="1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лн.евро</a:t>
            </a:r>
            <a:r>
              <a:rPr lang="ru-RU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7 349 800</a:t>
            </a:r>
            <a:r>
              <a:rPr lang="ru-RU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00" kern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в</a:t>
            </a:r>
            <a:r>
              <a:rPr lang="ru-RU" sz="1300" kern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) </a:t>
            </a:r>
            <a:endParaRPr lang="ru-RU" sz="1300" kern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7900" y="-44498"/>
            <a:ext cx="1085850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544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0127" y="996696"/>
            <a:ext cx="8882236" cy="6583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bg-BG" sz="2000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„</a:t>
            </a:r>
            <a:r>
              <a:rPr lang="ru-RU" sz="2000" b="1" dirty="0">
                <a:solidFill>
                  <a:srgbClr val="031B81"/>
                </a:solidFill>
                <a:latin typeface="Calibri" panose="020F0502020204030204" pitchFamily="34" charset="0"/>
              </a:rPr>
              <a:t>Развитие на </a:t>
            </a:r>
            <a:r>
              <a:rPr lang="ru-RU" sz="2000" b="1" dirty="0" err="1">
                <a:solidFill>
                  <a:srgbClr val="031B81"/>
                </a:solidFill>
                <a:latin typeface="Calibri" panose="020F0502020204030204" pitchFamily="34" charset="0"/>
              </a:rPr>
              <a:t>регионални</a:t>
            </a:r>
            <a:r>
              <a:rPr lang="ru-RU" sz="2000" b="1" dirty="0">
                <a:solidFill>
                  <a:srgbClr val="031B81"/>
                </a:solidFill>
                <a:latin typeface="Calibri" panose="020F0502020204030204" pitchFamily="34" charset="0"/>
              </a:rPr>
              <a:t> </a:t>
            </a:r>
            <a:r>
              <a:rPr lang="ru-RU" sz="2000" b="1" dirty="0" err="1">
                <a:solidFill>
                  <a:srgbClr val="031B81"/>
                </a:solidFill>
                <a:latin typeface="Calibri" panose="020F0502020204030204" pitchFamily="34" charset="0"/>
              </a:rPr>
              <a:t>иновационни</a:t>
            </a:r>
            <a:r>
              <a:rPr lang="ru-RU" sz="2000" b="1" dirty="0">
                <a:solidFill>
                  <a:srgbClr val="031B81"/>
                </a:solidFill>
                <a:latin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rgbClr val="031B81"/>
                </a:solidFill>
                <a:latin typeface="Calibri" panose="020F0502020204030204" pitchFamily="34" charset="0"/>
              </a:rPr>
              <a:t>центрове</a:t>
            </a:r>
            <a:r>
              <a:rPr lang="bg-BG" sz="2000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“</a:t>
            </a: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0126" y="3033287"/>
            <a:ext cx="5881226" cy="382471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2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кандидати: </a:t>
            </a:r>
            <a:r>
              <a:rPr lang="ru-RU" sz="1200" u="sng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Сдружения</a:t>
            </a:r>
            <a:r>
              <a:rPr lang="ru-RU" sz="1200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u="sng" dirty="0">
                <a:solidFill>
                  <a:srgbClr val="002060"/>
                </a:solidFill>
                <a:latin typeface="Calibri" panose="020F0502020204030204" pitchFamily="34" charset="0"/>
              </a:rPr>
              <a:t>между </a:t>
            </a:r>
            <a:r>
              <a:rPr lang="ru-RU" sz="1200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предприятия, научи организации, НПО, </a:t>
            </a:r>
            <a:r>
              <a:rPr lang="ru-RU" sz="1200" u="sng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местни</a:t>
            </a:r>
            <a:r>
              <a:rPr lang="ru-RU" sz="1200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200" u="sng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регионални</a:t>
            </a:r>
            <a:r>
              <a:rPr lang="ru-RU" sz="1200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власти.</a:t>
            </a: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2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дейности: </a:t>
            </a: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згражд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нови ил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разширяв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модернизация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ъществуващ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научноизследователска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развойна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нфраструктур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ъгласн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регионалната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специализация по 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ИСИС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Придобиване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на ДМА (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зследователск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оборудв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з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зпитвания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) –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роизводствен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оборудв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(вкл.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технологичн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линии) и ДНА (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пециализиран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офтуер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,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латформ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др.) за общи </a:t>
            </a: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дейности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Трансфер 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и широко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опуляризир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знания 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резултат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от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научн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зследвания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, посредством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рилаг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ринципит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отворен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достъп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до научна информация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  <a:endParaRPr lang="en-US" sz="1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ъздаван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мобилн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апликаци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с права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достъп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,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възможност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з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безплатн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участие в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уебинар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,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виртуалн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конференции и др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Извършване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проучвания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анализ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(вкл.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чужд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добр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практики) 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Допускат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се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ограничени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СМР само з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текущ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ремонт з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нуждите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научната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инфраструктура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Подпомагане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създаванет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капацитет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на научно-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зследователския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развоен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екип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Стимулиране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интернационализацията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и маркетинга 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обединениет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Изграждане</a:t>
            </a:r>
            <a:r>
              <a:rPr lang="ru-RU" sz="12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на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административнот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Calibri" panose="020F0502020204030204" pitchFamily="34" charset="0"/>
              </a:rPr>
              <a:t>тяло</a:t>
            </a:r>
            <a:r>
              <a:rPr lang="ru-RU" sz="1200" dirty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2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65112" lvl="1" defTabSz="912813" eaLnBrk="0" hangingPunct="0">
              <a:lnSpc>
                <a:spcPct val="90000"/>
              </a:lnSpc>
              <a:spcBef>
                <a:spcPts val="600"/>
              </a:spcBef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00548" y="3079886"/>
            <a:ext cx="2931815" cy="377811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Инвестиционни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разходи (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ДМА и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НА)</a:t>
            </a:r>
            <a:endParaRPr lang="ru-RU" sz="13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за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материали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3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консумативи</a:t>
            </a:r>
            <a:endParaRPr lang="ru-RU" sz="13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за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услуги</a:t>
            </a:r>
            <a:endParaRPr lang="en-US" sz="13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Разходи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за СМР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Разходи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за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организиране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и участие в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събития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за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представяне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обединението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и на </a:t>
            </a:r>
            <a:r>
              <a:rPr lang="ru-RU" sz="1300" dirty="0" err="1">
                <a:solidFill>
                  <a:srgbClr val="002060"/>
                </a:solidFill>
                <a:latin typeface="Calibri" panose="020F0502020204030204" pitchFamily="34" charset="0"/>
              </a:rPr>
              <a:t>неговите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продукти/услуги</a:t>
            </a:r>
            <a:endParaRPr lang="ru-RU" sz="13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за възнаграждения и командировки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3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инимален размер на помощта: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      1 500 000 лв.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3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аксимален размер на помощта: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      7 500 </a:t>
            </a:r>
            <a:r>
              <a:rPr lang="ru-RU" sz="1300" dirty="0">
                <a:solidFill>
                  <a:srgbClr val="002060"/>
                </a:solidFill>
                <a:latin typeface="Calibri" panose="020F0502020204030204" pitchFamily="34" charset="0"/>
              </a:rPr>
              <a:t>000 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лв. 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3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ата на </a:t>
            </a:r>
            <a:r>
              <a:rPr lang="ru-RU" sz="1300" b="1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обявяване</a:t>
            </a:r>
            <a:r>
              <a:rPr lang="ru-RU" sz="13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3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ай 2019 г. </a:t>
            </a:r>
            <a:endParaRPr lang="ru-RU" sz="13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3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0125" y="2691651"/>
            <a:ext cx="5881227" cy="3882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00546" y="2645052"/>
            <a:ext cx="2931815" cy="3882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0624" y="1655064"/>
            <a:ext cx="8137819" cy="852245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70C0"/>
                </a:solidFill>
                <a:latin typeface="Calibri Light"/>
                <a:cs typeface="Calibri" panose="020F0502020204030204" pitchFamily="34" charset="0"/>
              </a:rPr>
              <a:t> </a:t>
            </a:r>
            <a:endParaRPr lang="en-US" sz="1600" b="1" kern="0" dirty="0">
              <a:solidFill>
                <a:srgbClr val="0070C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0126" y="1587510"/>
            <a:ext cx="8882237" cy="95410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buClr>
                <a:srgbClr val="1F497D"/>
              </a:buClr>
              <a:buSzPct val="110000"/>
              <a:defRPr/>
            </a:pPr>
            <a:r>
              <a:rPr lang="ru-RU" sz="1400" b="1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Основна</a:t>
            </a:r>
            <a:r>
              <a:rPr lang="ru-RU" sz="14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 цел: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Стимулиране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развитието на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специфични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научно-</a:t>
            </a:r>
            <a:r>
              <a:rPr lang="ru-RU" sz="1400" kern="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изследователски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инфраструктури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експертиза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в услуга на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местните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предприятия и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създаването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на нови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видове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продукти и услуги в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приоритетните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области на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ИСИС.</a:t>
            </a:r>
            <a:endParaRPr lang="ru-RU" sz="1400" kern="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>
              <a:buClr>
                <a:srgbClr val="1F497D"/>
              </a:buClr>
              <a:buSzPct val="110000"/>
              <a:defRPr/>
            </a:pPr>
            <a:r>
              <a:rPr lang="ru-RU" sz="1400" b="1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Бюджет</a:t>
            </a:r>
            <a:r>
              <a:rPr lang="ru-RU" sz="14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115 646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637.81лв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./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59 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129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187евро</a:t>
            </a:r>
            <a:endParaRPr lang="ru-RU" sz="1400" kern="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514" y="0"/>
            <a:ext cx="1085850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150127" y="220840"/>
            <a:ext cx="7336786" cy="76931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>
                <a:solidFill>
                  <a:srgbClr val="031B81"/>
                </a:solidFill>
              </a:rPr>
              <a:t>Планирани</a:t>
            </a:r>
            <a:r>
              <a:rPr lang="ru-RU" sz="2400" b="1" dirty="0">
                <a:solidFill>
                  <a:srgbClr val="031B81"/>
                </a:solidFill>
              </a:rPr>
              <a:t> </a:t>
            </a:r>
            <a:r>
              <a:rPr lang="ru-RU" sz="2400" b="1" dirty="0" err="1">
                <a:solidFill>
                  <a:srgbClr val="031B81"/>
                </a:solidFill>
              </a:rPr>
              <a:t>процедури</a:t>
            </a:r>
            <a:r>
              <a:rPr lang="ru-RU" sz="2400" b="1" dirty="0">
                <a:solidFill>
                  <a:srgbClr val="031B81"/>
                </a:solidFill>
              </a:rPr>
              <a:t> за 2019 г. в </a:t>
            </a:r>
            <a:r>
              <a:rPr lang="ru-RU" sz="2400" b="1" dirty="0" err="1">
                <a:solidFill>
                  <a:srgbClr val="031B81"/>
                </a:solidFill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</a:rPr>
              <a:t> на ПО 1 „Технологично развитие и </a:t>
            </a:r>
            <a:r>
              <a:rPr lang="ru-RU" sz="2400" b="1" dirty="0" err="1">
                <a:solidFill>
                  <a:srgbClr val="031B81"/>
                </a:solidFill>
              </a:rPr>
              <a:t>иновации</a:t>
            </a:r>
            <a:r>
              <a:rPr lang="ru-RU" sz="2400" b="1" dirty="0" smtClean="0">
                <a:solidFill>
                  <a:srgbClr val="031B81"/>
                </a:solidFill>
              </a:rPr>
              <a:t>“(</a:t>
            </a:r>
            <a:r>
              <a:rPr lang="bg-BG" sz="2400" b="1" dirty="0" smtClean="0">
                <a:solidFill>
                  <a:srgbClr val="031B81"/>
                </a:solidFill>
              </a:rPr>
              <a:t>3</a:t>
            </a:r>
            <a:r>
              <a:rPr lang="ru-RU" sz="2400" b="1" dirty="0" smtClean="0">
                <a:solidFill>
                  <a:srgbClr val="031B81"/>
                </a:solidFill>
              </a:rPr>
              <a:t>/5)</a:t>
            </a:r>
            <a:endParaRPr lang="ru-RU" sz="2400" b="1" dirty="0">
              <a:solidFill>
                <a:srgbClr val="031B81"/>
              </a:solidFill>
            </a:endParaRPr>
          </a:p>
        </p:txBody>
      </p:sp>
      <p:sp>
        <p:nvSpPr>
          <p:cNvPr id="5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4312805" y="2399574"/>
            <a:ext cx="3437095" cy="284086"/>
          </a:xfrm>
          <a:prstGeom prst="triangle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89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0378" y="996696"/>
            <a:ext cx="8213564" cy="735118"/>
          </a:xfrm>
          <a:prstGeom prst="rect">
            <a:avLst/>
          </a:prstGeom>
          <a:solidFill>
            <a:srgbClr val="CCCCFF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ru-RU" b="1" dirty="0" smtClean="0">
              <a:solidFill>
                <a:srgbClr val="031B81"/>
              </a:solidFill>
              <a:latin typeface="Calibri" panose="020F0502020204030204" pitchFamily="34" charset="0"/>
            </a:endParaRPr>
          </a:p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b="1" dirty="0" err="1" smtClean="0">
                <a:solidFill>
                  <a:srgbClr val="031B81"/>
                </a:solidFill>
                <a:latin typeface="Calibri" panose="020F0502020204030204" pitchFamily="34" charset="0"/>
              </a:rPr>
              <a:t>Надграждане</a:t>
            </a:r>
            <a:r>
              <a:rPr lang="ru-RU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 </a:t>
            </a:r>
            <a:r>
              <a:rPr lang="ru-RU" b="1" dirty="0">
                <a:solidFill>
                  <a:srgbClr val="031B81"/>
                </a:solidFill>
                <a:latin typeface="Calibri" panose="020F0502020204030204" pitchFamily="34" charset="0"/>
              </a:rPr>
              <a:t>и развитие на научно-технологичен парк „София Тех Парк“ </a:t>
            </a:r>
            <a:endParaRPr lang="bg-BG" b="1" dirty="0" smtClean="0">
              <a:solidFill>
                <a:srgbClr val="031B81"/>
              </a:solidFill>
              <a:latin typeface="Calibri" panose="020F0502020204030204" pitchFamily="34" charset="0"/>
            </a:endParaRPr>
          </a:p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bg-BG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в рамките на </a:t>
            </a:r>
            <a:r>
              <a:rPr lang="ru-RU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ПО </a:t>
            </a:r>
            <a:r>
              <a:rPr lang="ru-RU" b="1" dirty="0">
                <a:solidFill>
                  <a:srgbClr val="031B81"/>
                </a:solidFill>
                <a:latin typeface="Calibri" panose="020F0502020204030204" pitchFamily="34" charset="0"/>
              </a:rPr>
              <a:t>1 „Технологично развитие и </a:t>
            </a:r>
            <a:r>
              <a:rPr lang="ru-RU" b="1" dirty="0" err="1" smtClean="0">
                <a:solidFill>
                  <a:srgbClr val="031B81"/>
                </a:solidFill>
                <a:latin typeface="Calibri" panose="020F0502020204030204" pitchFamily="34" charset="0"/>
              </a:rPr>
              <a:t>иновации</a:t>
            </a:r>
            <a:r>
              <a:rPr lang="ru-RU" b="1" dirty="0">
                <a:solidFill>
                  <a:srgbClr val="031B81"/>
                </a:solidFill>
                <a:latin typeface="Calibri" panose="020F0502020204030204" pitchFamily="34" charset="0"/>
              </a:rPr>
              <a:t>“</a:t>
            </a:r>
            <a:br>
              <a:rPr lang="ru-RU" b="1" dirty="0">
                <a:solidFill>
                  <a:srgbClr val="031B81"/>
                </a:solidFill>
                <a:latin typeface="Calibri" panose="020F0502020204030204" pitchFamily="34" charset="0"/>
              </a:rPr>
            </a:br>
            <a:endParaRPr lang="en-US" b="1" dirty="0">
              <a:solidFill>
                <a:srgbClr val="031B8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917380" y="2708129"/>
            <a:ext cx="3437095" cy="287910"/>
          </a:xfrm>
          <a:prstGeom prst="triangle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0379" y="3590548"/>
            <a:ext cx="3825278" cy="27413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bg-BG" sz="1600" b="1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кандидати: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София Тех Парк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АД.</a:t>
            </a:r>
          </a:p>
          <a:p>
            <a:pPr marL="0" lvl="1" algn="just" defTabSz="912813" eaLnBrk="0" hangingPunct="0">
              <a:spcBef>
                <a:spcPct val="20000"/>
              </a:spcBef>
              <a:defRPr/>
            </a:pPr>
            <a:endParaRPr lang="ru-RU" sz="8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дейности: </a:t>
            </a: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Дейности за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интегрирана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инвестиционна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консултантска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подкрепа за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развитието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институционално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доизграждане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функциониране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на вече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изградения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научно-технологичен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парк.</a:t>
            </a:r>
            <a:endParaRPr lang="ru-RU" sz="16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65112" lvl="1" defTabSz="912813" eaLnBrk="0" hangingPunct="0">
              <a:lnSpc>
                <a:spcPct val="90000"/>
              </a:lnSpc>
              <a:spcBef>
                <a:spcPts val="600"/>
              </a:spcBef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95082" y="3590548"/>
            <a:ext cx="3668860" cy="272860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Инвестиционни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разходи (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ДМА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и ДНА)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Разходи за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услуги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за организация и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управление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8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инимален размер на помощта: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НП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аксимален размер на помощта: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     39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622 868 лв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ата на </a:t>
            </a:r>
            <a:r>
              <a:rPr lang="ru-RU" sz="1600" b="1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обявяване</a:t>
            </a: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юни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2019 г. </a:t>
            </a:r>
            <a:endParaRPr lang="ru-RU" sz="16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0379" y="3106788"/>
            <a:ext cx="3825278" cy="483760"/>
          </a:xfrm>
          <a:prstGeom prst="rect">
            <a:avLst/>
          </a:prstGeom>
          <a:solidFill>
            <a:srgbClr val="CCCCFF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95081" y="3110714"/>
            <a:ext cx="3668859" cy="483760"/>
          </a:xfrm>
          <a:prstGeom prst="rect">
            <a:avLst/>
          </a:prstGeom>
          <a:solidFill>
            <a:srgbClr val="CCCCFF"/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0379" y="1810369"/>
            <a:ext cx="8227676" cy="865623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70C0"/>
                </a:solidFill>
                <a:latin typeface="Calibri Light"/>
                <a:cs typeface="Calibri" panose="020F0502020204030204" pitchFamily="34" charset="0"/>
              </a:rPr>
              <a:t> </a:t>
            </a:r>
            <a:endParaRPr lang="en-US" sz="1600" b="1" kern="0" dirty="0">
              <a:solidFill>
                <a:srgbClr val="0070C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0378" y="1810370"/>
            <a:ext cx="8213562" cy="86562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500" b="1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Основна</a:t>
            </a:r>
            <a:r>
              <a:rPr lang="ru-RU" sz="15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 цел: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Развитие на благоприятна среда и </a:t>
            </a:r>
            <a:r>
              <a:rPr lang="ru-RU" sz="15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иновативна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инфраструктура за </a:t>
            </a:r>
            <a:r>
              <a:rPr lang="ru-RU" sz="15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изследвания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5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иновации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и </a:t>
            </a:r>
            <a:r>
              <a:rPr lang="ru-RU" sz="15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подобряване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на обмена на знания между </a:t>
            </a:r>
            <a:r>
              <a:rPr lang="ru-RU" sz="15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академичните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 среди и бизнес </a:t>
            </a:r>
            <a:r>
              <a:rPr lang="ru-RU" sz="1500" kern="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общността</a:t>
            </a:r>
            <a:r>
              <a:rPr lang="ru-RU" sz="15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500" b="1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Бюджет</a:t>
            </a:r>
            <a:r>
              <a:rPr lang="ru-RU" sz="15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20 258 850,72 </a:t>
            </a:r>
            <a:r>
              <a:rPr lang="ru-RU" sz="15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евро (39 </a:t>
            </a:r>
            <a:r>
              <a:rPr lang="ru-RU" sz="1500" kern="0" dirty="0">
                <a:solidFill>
                  <a:srgbClr val="002060"/>
                </a:solidFill>
                <a:latin typeface="Calibri" panose="020F0502020204030204" pitchFamily="34" charset="0"/>
              </a:rPr>
              <a:t>622 868 лв. </a:t>
            </a:r>
            <a:r>
              <a:rPr lang="ru-RU" sz="15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)</a:t>
            </a:r>
            <a:endParaRPr lang="ru-RU" sz="1400" kern="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514" y="0"/>
            <a:ext cx="1085850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450377" y="227378"/>
            <a:ext cx="7407372" cy="76931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ирани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дури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 2019 г. в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ПО 1 „Технологично развитие и </a:t>
            </a:r>
            <a:r>
              <a:rPr lang="ru-RU" sz="2400" b="1" dirty="0" err="1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овации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(</a:t>
            </a:r>
            <a:r>
              <a:rPr lang="bg-BG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2400" b="1" dirty="0" smtClean="0">
                <a:solidFill>
                  <a:srgbClr val="031B8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5)</a:t>
            </a:r>
            <a:endParaRPr lang="ru-RU" sz="2400" b="1" dirty="0">
              <a:solidFill>
                <a:srgbClr val="031B8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54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7647" y="1074321"/>
            <a:ext cx="7911792" cy="5864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bg-BG" sz="2400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„</a:t>
            </a:r>
            <a:r>
              <a:rPr lang="bg-BG" sz="2400" b="1" dirty="0">
                <a:solidFill>
                  <a:srgbClr val="031B81"/>
                </a:solidFill>
                <a:latin typeface="Calibri" panose="020F0502020204030204" pitchFamily="34" charset="0"/>
              </a:rPr>
              <a:t>Дигитализация на МСП </a:t>
            </a:r>
            <a:r>
              <a:rPr lang="bg-BG" sz="2400" b="1" dirty="0" smtClean="0">
                <a:solidFill>
                  <a:srgbClr val="031B81"/>
                </a:solidFill>
                <a:latin typeface="Calibri" panose="020F0502020204030204" pitchFamily="34" charset="0"/>
              </a:rPr>
              <a:t>“</a:t>
            </a:r>
          </a:p>
        </p:txBody>
      </p:sp>
      <p:sp>
        <p:nvSpPr>
          <p:cNvPr id="5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3016441" y="2498164"/>
            <a:ext cx="3437095" cy="451648"/>
          </a:xfrm>
          <a:prstGeom prst="triangle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accent4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5136" y="3347193"/>
            <a:ext cx="3858408" cy="286253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bg-BG" sz="1600" b="1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кандидати: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Съществуващи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малки и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предприятия,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които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са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търговци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по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смисъла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Търговския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закон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или Закона за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кооперациите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16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опустими дейности: </a:t>
            </a:r>
          </a:p>
          <a:p>
            <a:pPr marL="171450" lvl="1" indent="-1714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Разработване и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въвеждане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базирани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на ИКТ </a:t>
            </a:r>
            <a:r>
              <a:rPr lang="ru-RU" sz="1600" dirty="0" err="1">
                <a:solidFill>
                  <a:srgbClr val="002060"/>
                </a:solidFill>
                <a:latin typeface="Calibri" panose="020F0502020204030204" pitchFamily="34" charset="0"/>
              </a:rPr>
              <a:t>системи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 и приложения за управление на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бизнеса.</a:t>
            </a:r>
            <a:endParaRPr lang="ru-RU" sz="16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65112" lvl="1" defTabSz="912813" eaLnBrk="0" hangingPunct="0">
              <a:lnSpc>
                <a:spcPct val="90000"/>
              </a:lnSpc>
              <a:spcBef>
                <a:spcPts val="600"/>
              </a:spcBef>
              <a:tabLst>
                <a:tab pos="542925" algn="l"/>
              </a:tabLst>
              <a:defRPr/>
            </a:pPr>
            <a:endParaRPr lang="ru-RU" sz="16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02990" y="3347193"/>
            <a:ext cx="3377845" cy="286253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16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Инвестиционни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(ДМА и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НА)</a:t>
            </a:r>
            <a:endParaRPr lang="ru-RU" sz="16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Разходи за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услуги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6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инимален размер на помощта: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 50 000 лв.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Максимален размер на помощта: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alibri" panose="020F0502020204030204" pitchFamily="34" charset="0"/>
              </a:rPr>
              <a:t>391 166 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лв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Дата на </a:t>
            </a:r>
            <a:r>
              <a:rPr lang="ru-RU" sz="1600" b="1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обявяване</a:t>
            </a:r>
            <a:r>
              <a:rPr lang="ru-RU" sz="16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600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ноември</a:t>
            </a:r>
            <a:r>
              <a:rPr lang="ru-RU" sz="1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2019 г. </a:t>
            </a:r>
            <a:endParaRPr lang="ru-RU" sz="16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5135" y="2949812"/>
            <a:ext cx="3858408" cy="3973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02991" y="2949814"/>
            <a:ext cx="3377844" cy="3973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Calibri Light"/>
                <a:cs typeface="Calibri" panose="020F0502020204030204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4069" y="1738931"/>
            <a:ext cx="7744131" cy="676656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70C0"/>
                </a:solidFill>
                <a:latin typeface="Calibri Light"/>
                <a:cs typeface="Calibri" panose="020F0502020204030204" pitchFamily="34" charset="0"/>
              </a:rPr>
              <a:t> </a:t>
            </a:r>
            <a:endParaRPr lang="en-US" sz="1600" b="1" kern="0" dirty="0">
              <a:solidFill>
                <a:srgbClr val="0070C0"/>
              </a:solidFill>
              <a:latin typeface="Calibri Light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6343" y="1738931"/>
            <a:ext cx="7911314" cy="81406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400" b="1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Основна</a:t>
            </a:r>
            <a:r>
              <a:rPr lang="ru-RU" sz="14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 цел: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Развитие на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управленския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капацитет и растеж на МСП чрез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предоставяне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на  </a:t>
            </a:r>
            <a:r>
              <a:rPr lang="ru-RU" sz="1400" kern="0" dirty="0" err="1">
                <a:solidFill>
                  <a:srgbClr val="002060"/>
                </a:solidFill>
                <a:latin typeface="Calibri" panose="020F0502020204030204" pitchFamily="34" charset="0"/>
              </a:rPr>
              <a:t>специализирани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 ИКТ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услуги.</a:t>
            </a:r>
          </a:p>
          <a:p>
            <a:pPr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400" b="1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Бюджет</a:t>
            </a:r>
            <a:r>
              <a:rPr lang="ru-RU" sz="1400" b="1" kern="0" dirty="0">
                <a:solidFill>
                  <a:srgbClr val="002060"/>
                </a:solidFill>
                <a:latin typeface="Calibri" panose="020F0502020204030204" pitchFamily="34" charset="0"/>
              </a:rPr>
              <a:t>: 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30 млн.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евро (58 </a:t>
            </a:r>
            <a:r>
              <a:rPr lang="ru-RU" sz="1400" kern="0" dirty="0">
                <a:solidFill>
                  <a:srgbClr val="002060"/>
                </a:solidFill>
                <a:latin typeface="Calibri" panose="020F0502020204030204" pitchFamily="34" charset="0"/>
              </a:rPr>
              <a:t>674 900 </a:t>
            </a:r>
            <a:r>
              <a:rPr lang="ru-RU" sz="1400" kern="0" dirty="0" smtClean="0">
                <a:solidFill>
                  <a:srgbClr val="002060"/>
                </a:solidFill>
                <a:latin typeface="Calibri" panose="020F0502020204030204" pitchFamily="34" charset="0"/>
              </a:rPr>
              <a:t>лв.)</a:t>
            </a:r>
            <a:endParaRPr lang="ru-RU" sz="1400" kern="0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514" y="0"/>
            <a:ext cx="1085850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itle 5">
            <a:extLst>
              <a:ext uri="{FF2B5EF4-FFF2-40B4-BE49-F238E27FC236}">
                <a16:creationId xmlns:a16="http://schemas.microsoft.com/office/drawing/2014/main" xmlns="" id="{9DF2C3C0-9CD0-0743-A8E6-0C7F4CADAA7A}"/>
              </a:ext>
            </a:extLst>
          </p:cNvPr>
          <p:cNvSpPr txBox="1">
            <a:spLocks/>
          </p:cNvSpPr>
          <p:nvPr/>
        </p:nvSpPr>
        <p:spPr>
          <a:xfrm>
            <a:off x="531628" y="227378"/>
            <a:ext cx="7581013" cy="769318"/>
          </a:xfrm>
          <a:prstGeom prst="round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err="1" smtClean="0">
                <a:solidFill>
                  <a:srgbClr val="031B81"/>
                </a:solidFill>
              </a:rPr>
              <a:t>Планирани</a:t>
            </a:r>
            <a:r>
              <a:rPr lang="ru-RU" sz="2400" b="1" dirty="0" smtClean="0">
                <a:solidFill>
                  <a:srgbClr val="031B81"/>
                </a:solidFill>
              </a:rPr>
              <a:t> </a:t>
            </a:r>
            <a:r>
              <a:rPr lang="ru-RU" sz="2400" b="1" dirty="0" err="1" smtClean="0">
                <a:solidFill>
                  <a:srgbClr val="031B81"/>
                </a:solidFill>
              </a:rPr>
              <a:t>процедури</a:t>
            </a:r>
            <a:r>
              <a:rPr lang="ru-RU" sz="2400" b="1" dirty="0" smtClean="0">
                <a:solidFill>
                  <a:srgbClr val="031B81"/>
                </a:solidFill>
              </a:rPr>
              <a:t> за 2019 </a:t>
            </a:r>
            <a:r>
              <a:rPr lang="ru-RU" sz="2400" b="1" dirty="0">
                <a:solidFill>
                  <a:srgbClr val="031B81"/>
                </a:solidFill>
              </a:rPr>
              <a:t>г</a:t>
            </a:r>
            <a:r>
              <a:rPr lang="ru-RU" sz="2400" b="1" dirty="0" smtClean="0">
                <a:solidFill>
                  <a:srgbClr val="031B81"/>
                </a:solidFill>
              </a:rPr>
              <a:t>. </a:t>
            </a:r>
            <a:r>
              <a:rPr lang="ru-RU" sz="2400" b="1" dirty="0">
                <a:solidFill>
                  <a:srgbClr val="031B81"/>
                </a:solidFill>
              </a:rPr>
              <a:t>в </a:t>
            </a:r>
            <a:r>
              <a:rPr lang="ru-RU" sz="2400" b="1" dirty="0" err="1">
                <a:solidFill>
                  <a:srgbClr val="031B81"/>
                </a:solidFill>
              </a:rPr>
              <a:t>рамките</a:t>
            </a:r>
            <a:r>
              <a:rPr lang="ru-RU" sz="2400" b="1" dirty="0">
                <a:solidFill>
                  <a:srgbClr val="031B81"/>
                </a:solidFill>
              </a:rPr>
              <a:t> на ПО </a:t>
            </a:r>
            <a:r>
              <a:rPr lang="en-US" sz="2400" b="1" dirty="0" smtClean="0">
                <a:solidFill>
                  <a:srgbClr val="031B81"/>
                </a:solidFill>
              </a:rPr>
              <a:t>2</a:t>
            </a:r>
            <a:r>
              <a:rPr lang="ru-RU" sz="2400" b="1" dirty="0" smtClean="0">
                <a:solidFill>
                  <a:srgbClr val="031B81"/>
                </a:solidFill>
              </a:rPr>
              <a:t> „</a:t>
            </a:r>
            <a:r>
              <a:rPr lang="ru-RU" sz="2400" b="1" dirty="0" err="1">
                <a:solidFill>
                  <a:srgbClr val="031B81"/>
                </a:solidFill>
              </a:rPr>
              <a:t>Предприемачество</a:t>
            </a:r>
            <a:r>
              <a:rPr lang="ru-RU" sz="2400" b="1" dirty="0">
                <a:solidFill>
                  <a:srgbClr val="031B81"/>
                </a:solidFill>
              </a:rPr>
              <a:t> и </a:t>
            </a:r>
            <a:r>
              <a:rPr lang="ru-RU" sz="2400" b="1" dirty="0" err="1">
                <a:solidFill>
                  <a:srgbClr val="031B81"/>
                </a:solidFill>
              </a:rPr>
              <a:t>капацитет</a:t>
            </a:r>
            <a:r>
              <a:rPr lang="ru-RU" sz="2400" b="1" dirty="0">
                <a:solidFill>
                  <a:srgbClr val="031B81"/>
                </a:solidFill>
              </a:rPr>
              <a:t> за </a:t>
            </a:r>
            <a:r>
              <a:rPr lang="ru-RU" sz="2400" b="1" dirty="0" err="1">
                <a:solidFill>
                  <a:srgbClr val="031B81"/>
                </a:solidFill>
              </a:rPr>
              <a:t>растеж</a:t>
            </a:r>
            <a:r>
              <a:rPr lang="ru-RU" sz="2400" b="1" dirty="0">
                <a:solidFill>
                  <a:srgbClr val="031B81"/>
                </a:solidFill>
              </a:rPr>
              <a:t> на </a:t>
            </a:r>
            <a:r>
              <a:rPr lang="ru-RU" sz="2400" b="1" dirty="0" smtClean="0">
                <a:solidFill>
                  <a:srgbClr val="031B81"/>
                </a:solidFill>
              </a:rPr>
              <a:t>СП“(</a:t>
            </a:r>
            <a:r>
              <a:rPr lang="bg-BG" sz="2400" b="1" dirty="0" smtClean="0">
                <a:solidFill>
                  <a:srgbClr val="031B81"/>
                </a:solidFill>
              </a:rPr>
              <a:t>5</a:t>
            </a:r>
            <a:r>
              <a:rPr lang="ru-RU" sz="2400" b="1" dirty="0" smtClean="0">
                <a:solidFill>
                  <a:srgbClr val="031B81"/>
                </a:solidFill>
              </a:rPr>
              <a:t>/5)</a:t>
            </a:r>
            <a:endParaRPr lang="ru-RU" sz="2400" b="1" dirty="0">
              <a:solidFill>
                <a:srgbClr val="031B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65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6C5F83D-6415-C442-A022-009D4B86A663}"/>
              </a:ext>
            </a:extLst>
          </p:cNvPr>
          <p:cNvSpPr txBox="1"/>
          <p:nvPr/>
        </p:nvSpPr>
        <p:spPr>
          <a:xfrm>
            <a:off x="325503" y="3479848"/>
            <a:ext cx="8444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Благодаря за вниманието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3692BD3-F972-364A-9A6F-D160D5648FE7}"/>
              </a:ext>
            </a:extLst>
          </p:cNvPr>
          <p:cNvSpPr/>
          <p:nvPr/>
        </p:nvSpPr>
        <p:spPr>
          <a:xfrm>
            <a:off x="104786" y="1592762"/>
            <a:ext cx="8937886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2199FA0-BD6F-5847-ABA7-67330EC809F8}"/>
              </a:ext>
            </a:extLst>
          </p:cNvPr>
          <p:cNvSpPr/>
          <p:nvPr/>
        </p:nvSpPr>
        <p:spPr>
          <a:xfrm>
            <a:off x="325503" y="6300989"/>
            <a:ext cx="84442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6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6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6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600" dirty="0">
              <a:latin typeface="Calibri" panose="020F050202020403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921596" y="0"/>
            <a:ext cx="7848184" cy="1765738"/>
            <a:chOff x="773900" y="18005"/>
            <a:chExt cx="7707882" cy="1778536"/>
          </a:xfrm>
        </p:grpSpPr>
        <p:grpSp>
          <p:nvGrpSpPr>
            <p:cNvPr id="18" name="Group 17"/>
            <p:cNvGrpSpPr/>
            <p:nvPr/>
          </p:nvGrpSpPr>
          <p:grpSpPr>
            <a:xfrm>
              <a:off x="773900" y="195811"/>
              <a:ext cx="4622553" cy="1300678"/>
              <a:chOff x="773900" y="195811"/>
              <a:chExt cx="4622553" cy="1300678"/>
            </a:xfrm>
          </p:grpSpPr>
          <p:pic>
            <p:nvPicPr>
              <p:cNvPr id="20" name="Picture 19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9" y="316217"/>
                <a:ext cx="1627484" cy="1180272"/>
              </a:xfrm>
              <a:prstGeom prst="rect">
                <a:avLst/>
              </a:prstGeom>
            </p:spPr>
          </p:pic>
          <p:pic>
            <p:nvPicPr>
              <p:cNvPr id="21" name="Picture 20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900" y="195811"/>
                <a:ext cx="1196583" cy="130067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9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8313" y="18005"/>
              <a:ext cx="1973469" cy="17785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Rectangle 1"/>
          <p:cNvSpPr/>
          <p:nvPr/>
        </p:nvSpPr>
        <p:spPr>
          <a:xfrm>
            <a:off x="6194750" y="5777769"/>
            <a:ext cx="20865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Calibri" panose="020F0502020204030204" pitchFamily="34" charset="0"/>
                <a:hlinkClick r:id="rId7"/>
              </a:rPr>
              <a:t>www.opic.bg</a:t>
            </a:r>
            <a:endParaRPr lang="bg-BG" sz="2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125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856984" cy="864096"/>
          </a:xfrm>
        </p:spPr>
        <p:txBody>
          <a:bodyPr/>
          <a:lstStyle/>
          <a:p>
            <a:pPr marL="0" indent="0" algn="l">
              <a:buNone/>
            </a:pPr>
            <a: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шите процедури за предоставяне на БФП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bg-BG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95536" y="1124744"/>
            <a:ext cx="8208912" cy="0"/>
          </a:xfrm>
          <a:prstGeom prst="line">
            <a:avLst/>
          </a:prstGeom>
          <a:ln w="1270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 txBox="1">
            <a:spLocks/>
          </p:cNvSpPr>
          <p:nvPr/>
        </p:nvSpPr>
        <p:spPr>
          <a:xfrm>
            <a:off x="378835" y="1556792"/>
            <a:ext cx="8208912" cy="792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bg-BG" sz="1400" b="1" spc="50" dirty="0">
              <a:ln w="11430"/>
              <a:solidFill>
                <a:prstClr val="black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64455306"/>
              </p:ext>
            </p:extLst>
          </p:nvPr>
        </p:nvGraphicFramePr>
        <p:xfrm>
          <a:off x="179512" y="1196753"/>
          <a:ext cx="8640960" cy="5328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185992" y="4653136"/>
            <a:ext cx="3600400" cy="648072"/>
          </a:xfrm>
          <a:prstGeom prst="roundRect">
            <a:avLst/>
          </a:prstGeom>
          <a:solidFill>
            <a:schemeClr val="accent6"/>
          </a:solidFill>
          <a:ln>
            <a:solidFill>
              <a:srgbClr val="002060">
                <a:alpha val="9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dirty="0" smtClean="0">
                <a:solidFill>
                  <a:prstClr val="white"/>
                </a:solidFill>
              </a:rPr>
              <a:t>Водено от общностите местно развитие</a:t>
            </a:r>
            <a:r>
              <a:rPr lang="en-US" dirty="0" smtClean="0">
                <a:solidFill>
                  <a:prstClr val="white"/>
                </a:solidFill>
              </a:rPr>
              <a:t> (</a:t>
            </a:r>
            <a:r>
              <a:rPr lang="bg-BG" dirty="0" smtClean="0">
                <a:solidFill>
                  <a:prstClr val="white"/>
                </a:solidFill>
              </a:rPr>
              <a:t>ВОМР</a:t>
            </a:r>
            <a:r>
              <a:rPr lang="en-US" dirty="0" smtClean="0">
                <a:solidFill>
                  <a:prstClr val="white"/>
                </a:solidFill>
              </a:rPr>
              <a:t>)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185992" y="5553236"/>
            <a:ext cx="3600400" cy="720080"/>
          </a:xfrm>
          <a:prstGeom prst="roundRect">
            <a:avLst/>
          </a:prstGeom>
          <a:solidFill>
            <a:schemeClr val="accent6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dirty="0" smtClean="0">
                <a:solidFill>
                  <a:prstClr val="white"/>
                </a:solidFill>
              </a:rPr>
              <a:t>Директни бенефициенти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4014" y="0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234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873A88D1-878E-414A-AF01-6AB4A455E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345825"/>
            <a:ext cx="8228765" cy="48438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Обявен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10</a:t>
            </a:r>
            <a:r>
              <a:rPr lang="ru-RU" sz="1800" dirty="0" smtClean="0">
                <a:solidFill>
                  <a:srgbClr val="FF000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оцедур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едоставяне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на БФП чрез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конкурентен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подбор, </a:t>
            </a:r>
            <a:r>
              <a:rPr lang="ru-RU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1</a:t>
            </a:r>
            <a:r>
              <a:rPr lang="en-US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2</a:t>
            </a:r>
            <a:r>
              <a:rPr lang="ru-RU" sz="1800" dirty="0" smtClean="0">
                <a:solidFill>
                  <a:srgbClr val="FF000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оцедур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директн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едоставяне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на 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БФП, </a:t>
            </a:r>
            <a:r>
              <a:rPr lang="en-US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7</a:t>
            </a:r>
            <a:r>
              <a:rPr lang="ru-RU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бюджетн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линии. </a:t>
            </a:r>
            <a:endParaRPr lang="ru-RU" sz="1000" dirty="0" smtClean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r>
              <a:rPr lang="ru-RU" sz="10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endParaRPr lang="ru-RU" sz="1000" dirty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+mn-lt"/>
                <a:cs typeface="Tahoma" pitchFamily="34" charset="0"/>
              </a:rPr>
              <a:t>Сключени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общ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1904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договора (вкл.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финансовот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поразумение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с ФМФИБ) с общ размер н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едоставенат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БФП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1,74 млрд. лев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(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редстват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едоставен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по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1, 2, 3, 4 и 5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).</a:t>
            </a:r>
            <a:endParaRPr lang="en-US" sz="1800" dirty="0" smtClean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endParaRPr lang="ru-RU" sz="1000" dirty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+mn-lt"/>
                <a:cs typeface="Tahoma" pitchFamily="34" charset="0"/>
              </a:rPr>
              <a:t>Извършени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лащания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от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началот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на периода – </a:t>
            </a:r>
            <a:r>
              <a:rPr lang="ru-RU" sz="1800" b="1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801,70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млн. лев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(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32.27%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от бюджета н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ограмат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),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включителн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115 млн. лев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финансов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инструменти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.</a:t>
            </a:r>
            <a:endParaRPr lang="en-US" sz="1800" dirty="0" smtClean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endParaRPr lang="ru-RU" sz="1000" dirty="0" smtClean="0">
              <a:solidFill>
                <a:srgbClr val="002060"/>
              </a:solidFill>
              <a:latin typeface="+mn-lt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+mn-lt"/>
                <a:cs typeface="Tahoma" pitchFamily="34" charset="0"/>
              </a:rPr>
              <a:t>Сертифицираните</a:t>
            </a:r>
            <a:r>
              <a:rPr lang="ru-RU" sz="1800" dirty="0" smtClean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средства по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ограмат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с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в размер на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670 млн. лев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(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27%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от бюджета н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програмат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),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включително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002060"/>
                </a:solidFill>
                <a:latin typeface="+mn-lt"/>
                <a:cs typeface="Tahoma" pitchFamily="34" charset="0"/>
              </a:rPr>
              <a:t>115 млн. лева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финансов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latin typeface="+mn-lt"/>
                <a:cs typeface="Tahoma" pitchFamily="34" charset="0"/>
              </a:rPr>
              <a:t>инструменти</a:t>
            </a:r>
            <a:r>
              <a:rPr lang="ru-RU" sz="1800" dirty="0">
                <a:solidFill>
                  <a:srgbClr val="002060"/>
                </a:solidFill>
                <a:latin typeface="+mn-lt"/>
                <a:cs typeface="Tahoma" pitchFamily="34" charset="0"/>
              </a:rPr>
              <a:t>.</a:t>
            </a:r>
            <a:endParaRPr lang="ru-RU" sz="1800" b="1" dirty="0">
              <a:solidFill>
                <a:srgbClr val="00206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201478"/>
            <a:ext cx="75318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Общ преглед на напредъка в изпълнението на </a:t>
            </a:r>
            <a:endParaRPr lang="bg-BG" sz="24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  <a:ea typeface="Tahoma" pitchFamily="34" charset="0"/>
              <a:cs typeface="Calibri" panose="020F0502020204030204" pitchFamily="34" charset="0"/>
            </a:endParaRPr>
          </a:p>
          <a:p>
            <a:pPr lvl="0" algn="ctr"/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ОПИК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2014-2020 към </a:t>
            </a:r>
            <a:r>
              <a:rPr lang="bg-BG" sz="2400" b="1" dirty="0" smtClean="0">
                <a:solidFill>
                  <a:srgbClr val="FF000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30.09.2018 </a:t>
            </a:r>
            <a:r>
              <a:rPr lang="bg-BG" sz="2400" b="1" dirty="0">
                <a:solidFill>
                  <a:srgbClr val="FF000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г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.</a:t>
            </a:r>
            <a:endParaRPr lang="en-US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Calibri" panose="020F0502020204030204" pitchFamily="34" charset="0"/>
              <a:ea typeface="Tahoma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53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16632"/>
            <a:ext cx="8229600" cy="10515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Финансово изпълнение</a:t>
            </a:r>
            <a:b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</a:br>
            <a:r>
              <a:rPr lang="bg-BG" sz="14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bg-BG" sz="1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ъм 15.10.2018 г.</a:t>
            </a:r>
            <a:r>
              <a:rPr lang="bg-BG" sz="14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709576"/>
              </p:ext>
            </p:extLst>
          </p:nvPr>
        </p:nvGraphicFramePr>
        <p:xfrm>
          <a:off x="327546" y="1700808"/>
          <a:ext cx="8652681" cy="408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407">
                  <a:extLst>
                    <a:ext uri="{9D8B030D-6E8A-4147-A177-3AD203B41FA5}">
                      <a16:colId xmlns:a16="http://schemas.microsoft.com/office/drawing/2014/main" xmlns="" val="2993658227"/>
                    </a:ext>
                  </a:extLst>
                </a:gridCol>
                <a:gridCol w="10275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90576">
                  <a:extLst>
                    <a:ext uri="{9D8B030D-6E8A-4147-A177-3AD203B41FA5}">
                      <a16:colId xmlns:a16="http://schemas.microsoft.com/office/drawing/2014/main" xmlns="" val="4101035910"/>
                    </a:ext>
                  </a:extLst>
                </a:gridCol>
                <a:gridCol w="1632805">
                  <a:extLst>
                    <a:ext uri="{9D8B030D-6E8A-4147-A177-3AD203B41FA5}">
                      <a16:colId xmlns:a16="http://schemas.microsoft.com/office/drawing/2014/main" xmlns="" val="104817072"/>
                    </a:ext>
                  </a:extLst>
                </a:gridCol>
                <a:gridCol w="1520196">
                  <a:extLst>
                    <a:ext uri="{9D8B030D-6E8A-4147-A177-3AD203B41FA5}">
                      <a16:colId xmlns:a16="http://schemas.microsoft.com/office/drawing/2014/main" xmlns="" val="2020722870"/>
                    </a:ext>
                  </a:extLst>
                </a:gridCol>
                <a:gridCol w="2069157">
                  <a:extLst>
                    <a:ext uri="{9D8B030D-6E8A-4147-A177-3AD203B41FA5}">
                      <a16:colId xmlns:a16="http://schemas.microsoft.com/office/drawing/2014/main" xmlns="" val="3058869818"/>
                    </a:ext>
                  </a:extLst>
                </a:gridCol>
              </a:tblGrid>
              <a:tr h="880110">
                <a:tc>
                  <a:txBody>
                    <a:bodyPr/>
                    <a:lstStyle/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юджет</a:t>
                      </a:r>
                      <a:endParaRPr lang="en-US" sz="16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вро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явени средства по процедури</a:t>
                      </a:r>
                      <a:endParaRPr lang="en-US" sz="16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евро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algn="ctr"/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6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оговорени средства</a:t>
                      </a:r>
                    </a:p>
                    <a:p>
                      <a:pPr algn="ctr"/>
                      <a:r>
                        <a:rPr lang="bg-BG" sz="16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евро)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Изплатени средства</a:t>
                      </a:r>
                    </a:p>
                    <a:p>
                      <a:pPr algn="ctr"/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евро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ртифицирани  средства</a:t>
                      </a:r>
                      <a:endParaRPr lang="bg-BG" sz="1600" baseline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bg-BG" sz="16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евро</a:t>
                      </a:r>
                      <a:r>
                        <a:rPr lang="en-US" sz="16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54428105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1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5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5.63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3.68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01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26762607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2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7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8.60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5</a:t>
                      </a:r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2.86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9.18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86672002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3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1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3.12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3.16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.61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.56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389238981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4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--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--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5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9</a:t>
                      </a:r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7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02835869"/>
                  </a:ext>
                </a:extLst>
              </a:tr>
              <a:tr h="352044">
                <a:tc>
                  <a:txBody>
                    <a:bodyPr/>
                    <a:lstStyle/>
                    <a:p>
                      <a:r>
                        <a:rPr lang="bg-BG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що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270</a:t>
                      </a:r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8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22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7.42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6</a:t>
                      </a:r>
                      <a:r>
                        <a:rPr lang="bg-BG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2.35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031039970"/>
                  </a:ext>
                </a:extLst>
              </a:tr>
              <a:tr h="511019">
                <a:tc gridSpan="2">
                  <a:txBody>
                    <a:bodyPr/>
                    <a:lstStyle/>
                    <a:p>
                      <a:pPr algn="l"/>
                      <a:r>
                        <a:rPr lang="bg-BG" sz="16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от общия бюджет</a:t>
                      </a:r>
                      <a:endParaRPr lang="en-US" sz="1600" b="1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800" b="1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800" b="1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</a:t>
                      </a:r>
                      <a:r>
                        <a:rPr lang="en-US" sz="1800" b="1" baseline="0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800" b="1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</a:t>
                      </a:r>
                      <a:r>
                        <a:rPr lang="bg-BG" sz="1800" b="1" dirty="0" smtClean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800" b="1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077136036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82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807988"/>
            <a:ext cx="8229600" cy="7634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bg-BG" sz="3200" dirty="0" smtClean="0"/>
              <a:t/>
            </a:r>
            <a:br>
              <a:rPr lang="bg-BG" sz="3200" dirty="0" smtClean="0"/>
            </a:br>
            <a:r>
              <a:rPr lang="bg-BG" sz="3200" dirty="0"/>
              <a:t/>
            </a:r>
            <a:br>
              <a:rPr lang="bg-BG" sz="3200" dirty="0"/>
            </a:b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Изпълнение на договорите </a:t>
            </a:r>
            <a:b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</a:b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за предоставяне на БФП</a:t>
            </a:r>
            <a:b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</a:br>
            <a:r>
              <a:rPr lang="bg-BG" sz="14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bg-BG" sz="1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ъм 15.10.2018 г.</a:t>
            </a:r>
            <a:r>
              <a:rPr lang="bg-BG" sz="14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2736936"/>
              </p:ext>
            </p:extLst>
          </p:nvPr>
        </p:nvGraphicFramePr>
        <p:xfrm>
          <a:off x="611560" y="2060848"/>
          <a:ext cx="7704855" cy="3666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xmlns="" val="1133389686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866454107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3624172859"/>
                    </a:ext>
                  </a:extLst>
                </a:gridCol>
                <a:gridCol w="1944215">
                  <a:extLst>
                    <a:ext uri="{9D8B030D-6E8A-4147-A177-3AD203B41FA5}">
                      <a16:colId xmlns:a16="http://schemas.microsoft.com/office/drawing/2014/main" xmlns="" val="1465248823"/>
                    </a:ext>
                  </a:extLst>
                </a:gridCol>
              </a:tblGrid>
              <a:tr h="870905"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рой подписани договори 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рой прекратени договори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рой приключени договор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66394738"/>
                  </a:ext>
                </a:extLst>
              </a:tr>
              <a:tr h="353200">
                <a:tc>
                  <a:txBody>
                    <a:bodyPr/>
                    <a:lstStyle/>
                    <a:p>
                      <a:r>
                        <a:rPr lang="bg-BG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1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2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5083992"/>
                  </a:ext>
                </a:extLst>
              </a:tr>
              <a:tr h="353200">
                <a:tc>
                  <a:txBody>
                    <a:bodyPr/>
                    <a:lstStyle/>
                    <a:p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2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41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7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9543541"/>
                  </a:ext>
                </a:extLst>
              </a:tr>
              <a:tr h="370304">
                <a:tc>
                  <a:txBody>
                    <a:bodyPr/>
                    <a:lstStyle/>
                    <a:p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3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7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81647580"/>
                  </a:ext>
                </a:extLst>
              </a:tr>
              <a:tr h="370304">
                <a:tc>
                  <a:txBody>
                    <a:bodyPr/>
                    <a:lstStyle/>
                    <a:p>
                      <a:r>
                        <a:rPr lang="bg-B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 </a:t>
                      </a:r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bg-BG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и </a:t>
                      </a:r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70652828"/>
                  </a:ext>
                </a:extLst>
              </a:tr>
              <a:tr h="348362">
                <a:tc>
                  <a:txBody>
                    <a:bodyPr/>
                    <a:lstStyle/>
                    <a:p>
                      <a:r>
                        <a:rPr lang="bg-BG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ПИК</a:t>
                      </a:r>
                      <a:r>
                        <a:rPr lang="en-US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bg-BG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</a:t>
                      </a:r>
                      <a:r>
                        <a:rPr lang="en-US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14-2020)</a:t>
                      </a:r>
                      <a:endParaRPr lang="en-US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18</a:t>
                      </a:r>
                      <a:endParaRPr lang="en-US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bg-BG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7</a:t>
                      </a:r>
                      <a:endParaRPr lang="en-US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7225249"/>
                  </a:ext>
                </a:extLst>
              </a:tr>
              <a:tr h="474373">
                <a:tc>
                  <a:txBody>
                    <a:bodyPr/>
                    <a:lstStyle/>
                    <a:p>
                      <a:r>
                        <a:rPr lang="bg-BG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ПРКБИ</a:t>
                      </a:r>
                      <a:r>
                        <a:rPr lang="en-US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bg-BG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</a:t>
                      </a:r>
                      <a:r>
                        <a:rPr lang="en-US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7-2013)</a:t>
                      </a:r>
                      <a:endParaRPr lang="en-US" b="1" dirty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19</a:t>
                      </a:r>
                      <a:endParaRPr lang="en-US" b="1" dirty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4</a:t>
                      </a:r>
                      <a:endParaRPr lang="en-US" b="1" dirty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bg-BG" b="1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55</a:t>
                      </a:r>
                      <a:endParaRPr lang="en-US" b="1" dirty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426780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393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8" y="887103"/>
            <a:ext cx="8229600" cy="30600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bg-BG" sz="32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bg-BG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bg-BG" sz="32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bg-BG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bg-BG" sz="32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Изпълнение на междинните цели</a:t>
            </a:r>
            <a:b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</a:br>
            <a:r>
              <a:rPr lang="bg-BG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bg-BG" sz="14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ъм 15.10.2018 г.</a:t>
            </a:r>
            <a:r>
              <a:rPr lang="bg-BG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612019"/>
              </p:ext>
            </p:extLst>
          </p:nvPr>
        </p:nvGraphicFramePr>
        <p:xfrm>
          <a:off x="234677" y="1254040"/>
          <a:ext cx="8674641" cy="46287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22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080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339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330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6384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85132">
                  <a:extLst>
                    <a:ext uri="{9D8B030D-6E8A-4147-A177-3AD203B41FA5}">
                      <a16:colId xmlns:a16="http://schemas.microsoft.com/office/drawing/2014/main" xmlns="" val="644715320"/>
                    </a:ext>
                  </a:extLst>
                </a:gridCol>
                <a:gridCol w="112449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6384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8774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Индикатор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Мерна единица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тапна цел </a:t>
                      </a:r>
                      <a:r>
                        <a:rPr lang="bg-BG" sz="1000" dirty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(2018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aseline="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Це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(2023</a:t>
                      </a:r>
                      <a:r>
                        <a:rPr lang="bg-BG" sz="1000" dirty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 smtClean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baseline="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Изпълнение към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01</a:t>
                      </a: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.1</a:t>
                      </a:r>
                      <a:r>
                        <a:rPr lang="en-US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.</a:t>
                      </a: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201</a:t>
                      </a:r>
                      <a:r>
                        <a:rPr lang="en-US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bg-BG" sz="1000" dirty="0" smtClean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Изпълнение на </a:t>
                      </a:r>
                      <a:r>
                        <a:rPr lang="ru-RU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85 %  от </a:t>
                      </a:r>
                      <a:r>
                        <a:rPr lang="ru-RU" sz="1000" dirty="0" err="1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междинната</a:t>
                      </a:r>
                      <a:r>
                        <a:rPr lang="ru-RU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цел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Изпълнение на междинната цел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16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</a:t>
                      </a:r>
                      <a:r>
                        <a:rPr lang="en-US" sz="1000" baseline="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Сертифицирани разходи</a:t>
                      </a: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вро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40 826 51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295 282 55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="1" kern="120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50 528 005.11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45.60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23.76%</a:t>
                      </a:r>
                      <a:endParaRPr lang="en-US" sz="1100" b="1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55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1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рой на предприятията, получаващи подкрепа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рой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5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50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="1" kern="120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83</a:t>
                      </a:r>
                      <a:endParaRPr lang="bg-BG" sz="1000" b="1" kern="1200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71.31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45.61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71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2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Сертифицирани разходи</a:t>
                      </a: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вро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188 847 615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577 492 050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="1" kern="120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239 184 034.9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49.01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26.65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313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2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Частни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инвестиции,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допълващи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публичнат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подкреп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за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предприятият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езвъзмездни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средства и ФИ)</a:t>
                      </a:r>
                      <a:endParaRPr lang="en-US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вро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63 093 284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171 343 567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="1" kern="120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132 266 581.5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246.63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209.64%</a:t>
                      </a:r>
                      <a:endParaRPr lang="en-US" sz="1100" b="1" dirty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055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3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Сертифицирани разходи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вро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68 416 590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310 686 632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b="1" kern="1200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41 566 014.50</a:t>
                      </a:r>
                      <a:r>
                        <a:rPr lang="en-US" sz="1000" b="1" kern="1200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*</a:t>
                      </a:r>
                      <a:endParaRPr lang="bg-BG" sz="1000" b="1" kern="1200" dirty="0" smtClean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71.48%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bg-BG" sz="10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60.75%</a:t>
                      </a:r>
                      <a:endParaRPr lang="en-US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055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3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рой на предприятията,</a:t>
                      </a:r>
                      <a:r>
                        <a:rPr lang="bg-BG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получаващи подкрепа 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(3.1)</a:t>
                      </a: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рой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185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528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67**</a:t>
                      </a:r>
                      <a:endParaRPr lang="bg-BG" sz="1000" b="1" kern="12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42.67</a:t>
                      </a:r>
                      <a:r>
                        <a:rPr lang="bg-BG" sz="10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bg-BG" sz="10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36.21</a:t>
                      </a:r>
                      <a:r>
                        <a:rPr lang="bg-BG" sz="10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bg-BG" sz="10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289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4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Сертифицирани разходи</a:t>
                      </a: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евро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22 500 000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45 000 </a:t>
                      </a:r>
                      <a:r>
                        <a:rPr lang="bg-BG" sz="1000" dirty="0" err="1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00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055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О 4</a:t>
                      </a:r>
                      <a:endParaRPr lang="bg-BG" sz="1000" dirty="0"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Изграден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междусистемн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газов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връзк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България-Сърбия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bg-BG" sz="10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км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41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bg-BG" sz="1000" dirty="0" smtClean="0"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61.1</a:t>
                      </a:r>
                      <a:endParaRPr lang="bg-BG" sz="1000" dirty="0"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Tahoma" pitchFamily="34" charset="0"/>
                          <a:cs typeface="Calibri" panose="020F0502020204030204" pitchFamily="34" charset="0"/>
                        </a:rPr>
                        <a:t>0%</a:t>
                      </a:r>
                      <a:endParaRPr lang="bg-BG" sz="1000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  <a:ea typeface="Tahoma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7503" y="5882818"/>
            <a:ext cx="89289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</a:t>
            </a:r>
            <a:r>
              <a:rPr lang="ru-RU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щанията</a:t>
            </a:r>
            <a:r>
              <a:rPr lang="ru-RU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вече </a:t>
            </a:r>
            <a:r>
              <a:rPr lang="ru-RU" sz="10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</a:t>
            </a:r>
            <a:r>
              <a:rPr lang="ru-RU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рифицирани</a:t>
            </a:r>
            <a:r>
              <a:rPr lang="ru-RU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ъс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ледващия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ертификат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та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ще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ъде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стигната</a:t>
            </a:r>
            <a:r>
              <a:rPr lang="en-US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r>
              <a:rPr lang="en-US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 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че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пратени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ще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48 </a:t>
            </a:r>
            <a:r>
              <a:rPr lang="ru-RU" sz="10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кончателни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лада.</a:t>
            </a:r>
            <a:endParaRPr lang="en-US" sz="1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4216" y="84520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4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indent="0">
              <a:lnSpc>
                <a:spcPct val="100000"/>
              </a:lnSpc>
              <a:buNone/>
              <a:defRPr/>
            </a:pP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роектни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на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изпълнение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в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Югозападен район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о 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ОПИК 2014-2020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към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30.09.2018 г. (1/3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0376" y="1825625"/>
            <a:ext cx="8420669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о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писани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67 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(</a:t>
            </a:r>
            <a:r>
              <a:rPr lang="ru-RU" sz="20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9,5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%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сички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писани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ОПИК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;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12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с бюджет (БФП) от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1 530 608.5 </a:t>
            </a:r>
            <a:r>
              <a:rPr lang="ru-RU" sz="2000" b="1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(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0 563 277.50 </a:t>
            </a:r>
            <a:r>
              <a:rPr lang="ru-RU" sz="2000" b="1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ече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ях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;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кратени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3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договора;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спешно </a:t>
            </a: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риключили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42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договора с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ях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57 275 552.55 </a:t>
            </a:r>
            <a:r>
              <a:rPr lang="ru-RU" sz="2000" b="1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20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103516235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algn="ctr"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роектни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на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изпълнение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в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Югозападен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район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о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ОПИК 2014-2020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към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30.09.2018 г. (2/3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1457584"/>
              </p:ext>
            </p:extLst>
          </p:nvPr>
        </p:nvGraphicFramePr>
        <p:xfrm>
          <a:off x="750627" y="1509597"/>
          <a:ext cx="7915701" cy="51063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ocument" r:id="rId5" imgW="6088603" imgH="5800022" progId="Word.Document.12">
                  <p:embed/>
                </p:oleObj>
              </mc:Choice>
              <mc:Fallback>
                <p:oleObj name="Document" r:id="rId5" imgW="6088603" imgH="580002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50627" y="1509597"/>
                        <a:ext cx="7915701" cy="51063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068720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algn="ctr"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роцедури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за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директно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редоставяне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на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изпълнение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в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Югозападен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район 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по ОПИК 2014-2020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</a:b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към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30.09.2018 г. (3/3)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6690858"/>
              </p:ext>
            </p:extLst>
          </p:nvPr>
        </p:nvGraphicFramePr>
        <p:xfrm>
          <a:off x="818866" y="1535373"/>
          <a:ext cx="7996239" cy="5486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ocument" r:id="rId5" imgW="5951477" imgH="5486643" progId="Word.Document.12">
                  <p:embed/>
                </p:oleObj>
              </mc:Choice>
              <mc:Fallback>
                <p:oleObj name="Document" r:id="rId5" imgW="5951477" imgH="54866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18866" y="1535373"/>
                        <a:ext cx="7996239" cy="5486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7588015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8</Words>
  <Application>Microsoft Office PowerPoint</Application>
  <PresentationFormat>On-screen Show (4:3)</PresentationFormat>
  <Paragraphs>358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4" baseType="lpstr">
      <vt:lpstr>Arial</vt:lpstr>
      <vt:lpstr>Calibri</vt:lpstr>
      <vt:lpstr>Calibri Light</vt:lpstr>
      <vt:lpstr>Century Gothic</vt:lpstr>
      <vt:lpstr>Courier New</vt:lpstr>
      <vt:lpstr>Palatino Linotype</vt:lpstr>
      <vt:lpstr>Tahoma</vt:lpstr>
      <vt:lpstr>Trebuchet MS</vt:lpstr>
      <vt:lpstr>Trebuchet MS,Bold</vt:lpstr>
      <vt:lpstr>Wingdings</vt:lpstr>
      <vt:lpstr>Office Theme</vt:lpstr>
      <vt:lpstr>Executive</vt:lpstr>
      <vt:lpstr>1_Executive</vt:lpstr>
      <vt:lpstr>2_Executive</vt:lpstr>
      <vt:lpstr>2_Office Theme</vt:lpstr>
      <vt:lpstr>3_Office Theme</vt:lpstr>
      <vt:lpstr>Document</vt:lpstr>
      <vt:lpstr>Напредък в изпълнението на  ОП “Иновации и конкурентоспособност“   2014-2020 и предстоящи за обявяване  процедури</vt:lpstr>
      <vt:lpstr>Нашите процедури за предоставяне на БФП:</vt:lpstr>
      <vt:lpstr>PowerPoint Presentation</vt:lpstr>
      <vt:lpstr>Финансово изпълнение (към 15.10.2018 г.)</vt:lpstr>
      <vt:lpstr>  Изпълнение на договорите  за предоставяне на БФП (към 15.10.2018 г.)</vt:lpstr>
      <vt:lpstr>     Изпълнение на междинните цели (към 15.10.2018 г.)</vt:lpstr>
      <vt:lpstr> Проектни предложения с място  на изпълнение в Югозападен район по  ОПИК 2014-2020 към 30.09.2018 г. (1/3) </vt:lpstr>
      <vt:lpstr>Проектни предложения с място  на изпълнение в Югозападен район по ОПИК 2014-2020 към 30.09.2018 г. (2/3) </vt:lpstr>
      <vt:lpstr>Процедури за директно предоставяне с място  на изпълнение в Югозападен район  по ОПИК 2014-2020  към 30.09.2018 г. (3/3) </vt:lpstr>
      <vt:lpstr>ПРЕДСТОЯЩИ ЗА ОБЯВЯВАНЕ ПРОЦЕДУРИ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635</cp:revision>
  <cp:lastPrinted>2018-11-07T14:02:58Z</cp:lastPrinted>
  <dcterms:created xsi:type="dcterms:W3CDTF">2018-04-30T09:27:19Z</dcterms:created>
  <dcterms:modified xsi:type="dcterms:W3CDTF">2018-11-30T10:27:40Z</dcterms:modified>
</cp:coreProperties>
</file>